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2.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4023" r:id="rId5"/>
    <p:sldMasterId id="2147484035" r:id="rId6"/>
  </p:sldMasterIdLst>
  <p:notesMasterIdLst>
    <p:notesMasterId r:id="rId16"/>
  </p:notesMasterIdLst>
  <p:sldIdLst>
    <p:sldId id="13132" r:id="rId7"/>
    <p:sldId id="8392" r:id="rId8"/>
    <p:sldId id="2147481484" r:id="rId9"/>
    <p:sldId id="2147481491" r:id="rId10"/>
    <p:sldId id="2147481499" r:id="rId11"/>
    <p:sldId id="2147481493" r:id="rId12"/>
    <p:sldId id="2147481494" r:id="rId13"/>
    <p:sldId id="2147481490" r:id="rId14"/>
    <p:sldId id="2147481500"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3120" userDrawn="1">
          <p15:clr>
            <a:srgbClr val="A4A3A4"/>
          </p15:clr>
        </p15:guide>
        <p15:guide id="4" pos="264" userDrawn="1">
          <p15:clr>
            <a:srgbClr val="A4A3A4"/>
          </p15:clr>
        </p15:guide>
        <p15:guide id="7" orient="horz" pos="4156" userDrawn="1">
          <p15:clr>
            <a:srgbClr val="A4A3A4"/>
          </p15:clr>
        </p15:guide>
        <p15:guide id="13" pos="7464" userDrawn="1">
          <p15:clr>
            <a:srgbClr val="A4A3A4"/>
          </p15:clr>
        </p15:guide>
        <p15:guide id="14" pos="415"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81BF0E-01F0-A8F5-6D80-86CBCE6E0711}" name="Nicole Thompson" initials="NT" userId="S::nicole.thompson1@gilead.com::c4559a75-9357-4a3b-a88b-df8a6ef95cc3" providerId="AD"/>
  <p188:author id="{8743B617-3B71-258F-F0C5-9BBADD003ADE}" name="Derek Ngo" initials="DN" userId="S::derek.ngo@gilead.com::334768c3-a38a-4693-88f2-ad18dd5c9c69" providerId="AD"/>
  <p188:author id="{231BF585-C60D-B026-75CD-DC5D13896B02}" name="Katherine Tran" initials="KT" userId="S::katherine.tran8@gilead.com::2ae77265-d211-4f0e-bdfd-703e8ea5f049" providerId="AD"/>
  <p188:author id="{26456F8A-A6A0-43E9-0455-3C96B6BE53C3}" name="Kyle Cheong" initials="KC" userId="S::Kyle.Cheong@gilead.com::13599efb-1192-45cf-bf40-5e2eeaf5e800" providerId="AD"/>
  <p188:author id="{DE795DAC-2F2C-DCCA-71F9-EC5D3FF6800F}" name="Nicole Thompson" initials="NT" userId="S::Nicole.Thompson1@gilead.com::c4559a75-9357-4a3b-a88b-df8a6ef95cc3" providerId="AD"/>
  <p188:author id="{63613ED3-68AC-AB70-ADAE-BDE8D7DC4486}" name="Sandhya Shankarnarayan" initials="SS" userId="S::sandhya.shankarnarayan@gilead.com::c037d126-bcc3-4b25-9ac8-f0732c6892d2" providerId="AD"/>
  <p188:author id="{E0549CDF-4AA2-B50F-C3DA-F2E92BCC53D6}" name="Katherine Tran" initials="KT" userId="S::Katherine.Tran8@gilead.com::2ae77265-d211-4f0e-bdfd-703e8ea5f04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ttar, Vinayak" initials="KV" lastIdx="517" clrIdx="0">
    <p:extLst>
      <p:ext uri="{19B8F6BF-5375-455C-9EA6-DF929625EA0E}">
        <p15:presenceInfo xmlns:p15="http://schemas.microsoft.com/office/powerpoint/2012/main" userId="S::vinayak.khattar@invivo.com::00b81a53-c099-432d-ba49-75183f466c8c" providerId="AD"/>
      </p:ext>
    </p:extLst>
  </p:cmAuthor>
  <p:cmAuthor id="2" name="Miladinovic, Tanya" initials="MT" lastIdx="157" clrIdx="1">
    <p:extLst>
      <p:ext uri="{19B8F6BF-5375-455C-9EA6-DF929625EA0E}">
        <p15:presenceInfo xmlns:p15="http://schemas.microsoft.com/office/powerpoint/2012/main" userId="S::tanya.miladinovic@invivo.com::34fbd6b2-0e79-48d6-b402-7524b610560a" providerId="AD"/>
      </p:ext>
    </p:extLst>
  </p:cmAuthor>
  <p:cmAuthor id="3" name="Ulrich, Lindsay" initials="UL" lastIdx="73" clrIdx="2">
    <p:extLst>
      <p:ext uri="{19B8F6BF-5375-455C-9EA6-DF929625EA0E}">
        <p15:presenceInfo xmlns:p15="http://schemas.microsoft.com/office/powerpoint/2012/main" userId="S::lindsay.ulrich@invivo.com::7d8eaeb5-f351-4780-947b-b9c5d3b009dc" providerId="AD"/>
      </p:ext>
    </p:extLst>
  </p:cmAuthor>
  <p:cmAuthor id="4" name="Chan, Melissa" initials="CM" lastIdx="171" clrIdx="3">
    <p:extLst>
      <p:ext uri="{19B8F6BF-5375-455C-9EA6-DF929625EA0E}">
        <p15:presenceInfo xmlns:p15="http://schemas.microsoft.com/office/powerpoint/2012/main" userId="Chan, Melissa" providerId="None"/>
      </p:ext>
    </p:extLst>
  </p:cmAuthor>
  <p:cmAuthor id="5" name="Silvia Dambacher" initials="SD" lastIdx="2" clrIdx="4">
    <p:extLst>
      <p:ext uri="{19B8F6BF-5375-455C-9EA6-DF929625EA0E}">
        <p15:presenceInfo xmlns:p15="http://schemas.microsoft.com/office/powerpoint/2012/main" userId="S::silvia.dambacher_gilead.com#ext#@rednucleus.com::83258cf5-f5fb-4f81-af1c-217087720619" providerId="AD"/>
      </p:ext>
    </p:extLst>
  </p:cmAuthor>
  <p:cmAuthor id="6" name="Matthew Hodgson" initials="MH" lastIdx="5" clrIdx="5">
    <p:extLst>
      <p:ext uri="{19B8F6BF-5375-455C-9EA6-DF929625EA0E}">
        <p15:presenceInfo xmlns:p15="http://schemas.microsoft.com/office/powerpoint/2012/main" userId="S::matthew.hodgson1_gilead.com#ext#@rednucleus.com::ae547404-b466-4c39-88c8-510bd96723e3" providerId="AD"/>
      </p:ext>
    </p:extLst>
  </p:cmAuthor>
  <p:cmAuthor id="7" name="Piekut, Lillian" initials="PL" lastIdx="14" clrIdx="6">
    <p:extLst>
      <p:ext uri="{19B8F6BF-5375-455C-9EA6-DF929625EA0E}">
        <p15:presenceInfo xmlns:p15="http://schemas.microsoft.com/office/powerpoint/2012/main" userId="S::lillian.piekut@invivo.com::7080b534-fed7-4a0e-9727-e273984c5bff" providerId="AD"/>
      </p:ext>
    </p:extLst>
  </p:cmAuthor>
  <p:cmAuthor id="8" name="Mudrick, Kathleen" initials="MK" lastIdx="61" clrIdx="7">
    <p:extLst>
      <p:ext uri="{19B8F6BF-5375-455C-9EA6-DF929625EA0E}">
        <p15:presenceInfo xmlns:p15="http://schemas.microsoft.com/office/powerpoint/2012/main" userId="S::kathleen.mudrick@invivo.com::976cb68b-a2e0-42e5-bfdc-278f571eaae0" providerId="AD"/>
      </p:ext>
    </p:extLst>
  </p:cmAuthor>
  <p:cmAuthor id="9" name="Power, Jen" initials="PJ" lastIdx="1" clrIdx="8">
    <p:extLst>
      <p:ext uri="{19B8F6BF-5375-455C-9EA6-DF929625EA0E}">
        <p15:presenceInfo xmlns:p15="http://schemas.microsoft.com/office/powerpoint/2012/main" userId="S::jen.power@invivo.com::696e1609-e4a0-43ed-bf88-2626b2429c39" providerId="AD"/>
      </p:ext>
    </p:extLst>
  </p:cmAuthor>
  <p:cmAuthor id="10" name="Dean, Niki" initials="DN" lastIdx="30" clrIdx="9">
    <p:extLst>
      <p:ext uri="{19B8F6BF-5375-455C-9EA6-DF929625EA0E}">
        <p15:presenceInfo xmlns:p15="http://schemas.microsoft.com/office/powerpoint/2012/main" userId="S::ndean@rednucleus.com::4a766e40-0189-4467-932b-60899b30fb95" providerId="AD"/>
      </p:ext>
    </p:extLst>
  </p:cmAuthor>
  <p:cmAuthor id="11" name="Obermeyer, Jackie" initials="OJ" lastIdx="175" clrIdx="10">
    <p:extLst>
      <p:ext uri="{19B8F6BF-5375-455C-9EA6-DF929625EA0E}">
        <p15:presenceInfo xmlns:p15="http://schemas.microsoft.com/office/powerpoint/2012/main" userId="Obermeyer, Jackie" providerId="None"/>
      </p:ext>
    </p:extLst>
  </p:cmAuthor>
  <p:cmAuthor id="12" name="Karim, Samiya" initials="KS" lastIdx="12" clrIdx="11">
    <p:extLst>
      <p:ext uri="{19B8F6BF-5375-455C-9EA6-DF929625EA0E}">
        <p15:presenceInfo xmlns:p15="http://schemas.microsoft.com/office/powerpoint/2012/main" userId="S::samiya.karim@invivo.ca::01d1bfea-d49b-4a0f-ae07-4197c69e1640" providerId="AD"/>
      </p:ext>
    </p:extLst>
  </p:cmAuthor>
  <p:cmAuthor id="13" name="Nikoleta Sjekloca" initials="NS" lastIdx="118" clrIdx="12">
    <p:extLst>
      <p:ext uri="{19B8F6BF-5375-455C-9EA6-DF929625EA0E}">
        <p15:presenceInfo xmlns:p15="http://schemas.microsoft.com/office/powerpoint/2012/main" userId="S::nikoleta.sjekloca@gilead.com::f8f7b63a-6468-436d-8fa8-6cedf0d7c9f4" providerId="AD"/>
      </p:ext>
    </p:extLst>
  </p:cmAuthor>
  <p:cmAuthor id="14" name="Obermeyer, Jackie" initials="OJ [2]" lastIdx="2" clrIdx="13">
    <p:extLst>
      <p:ext uri="{19B8F6BF-5375-455C-9EA6-DF929625EA0E}">
        <p15:presenceInfo xmlns:p15="http://schemas.microsoft.com/office/powerpoint/2012/main" userId="S::jackie.obermeyer@invivo.com::fac7d026-44c7-436a-bba0-aff192f1d871" providerId="AD"/>
      </p:ext>
    </p:extLst>
  </p:cmAuthor>
  <p:cmAuthor id="15" name="Satish" initials="S" lastIdx="20" clrIdx="14">
    <p:extLst>
      <p:ext uri="{19B8F6BF-5375-455C-9EA6-DF929625EA0E}">
        <p15:presenceInfo xmlns:p15="http://schemas.microsoft.com/office/powerpoint/2012/main" userId="Satish" providerId="None"/>
      </p:ext>
    </p:extLst>
  </p:cmAuthor>
  <p:cmAuthor id="16" name="Tamsin Williamson" initials="TW" lastIdx="13" clrIdx="15">
    <p:extLst>
      <p:ext uri="{19B8F6BF-5375-455C-9EA6-DF929625EA0E}">
        <p15:presenceInfo xmlns:p15="http://schemas.microsoft.com/office/powerpoint/2012/main" userId="a618286dff72acf9" providerId="Windows Live"/>
      </p:ext>
    </p:extLst>
  </p:cmAuthor>
  <p:cmAuthor id="17" name="Ify Sargeant" initials="IS" lastIdx="3" clrIdx="16">
    <p:extLst>
      <p:ext uri="{19B8F6BF-5375-455C-9EA6-DF929625EA0E}">
        <p15:presenceInfo xmlns:p15="http://schemas.microsoft.com/office/powerpoint/2012/main" userId="Ify Sargeant" providerId="None"/>
      </p:ext>
    </p:extLst>
  </p:cmAuthor>
  <p:cmAuthor id="18" name="Abramczuk, Rachel" initials="AR" lastIdx="23" clrIdx="17">
    <p:extLst>
      <p:ext uri="{19B8F6BF-5375-455C-9EA6-DF929625EA0E}">
        <p15:presenceInfo xmlns:p15="http://schemas.microsoft.com/office/powerpoint/2012/main" userId="S::rachel.abramczuk@invivo.com::e2843a8d-61ae-4a46-9e11-4ec653513657" providerId="AD"/>
      </p:ext>
    </p:extLst>
  </p:cmAuthor>
  <p:cmAuthor id="19" name="Stroud, Samanda" initials="SS" lastIdx="3" clrIdx="18">
    <p:extLst>
      <p:ext uri="{19B8F6BF-5375-455C-9EA6-DF929625EA0E}">
        <p15:presenceInfo xmlns:p15="http://schemas.microsoft.com/office/powerpoint/2012/main" userId="S::samanda.stroud@invivo.com::804adb38-89f1-40d9-bc16-6e28c0cf9e03" providerId="AD"/>
      </p:ext>
    </p:extLst>
  </p:cmAuthor>
  <p:cmAuthor id="20" name="T9S" initials="T9S" lastIdx="46" clrIdx="19">
    <p:extLst>
      <p:ext uri="{19B8F6BF-5375-455C-9EA6-DF929625EA0E}">
        <p15:presenceInfo xmlns:p15="http://schemas.microsoft.com/office/powerpoint/2012/main" userId="T9S" providerId="None"/>
      </p:ext>
    </p:extLst>
  </p:cmAuthor>
  <p:cmAuthor id="21" name="Wong, Maggie" initials="WM" lastIdx="1" clrIdx="20">
    <p:extLst>
      <p:ext uri="{19B8F6BF-5375-455C-9EA6-DF929625EA0E}">
        <p15:presenceInfo xmlns:p15="http://schemas.microsoft.com/office/powerpoint/2012/main" userId="S::maggie.wong@invivo.com::d6259e22-2b0e-40cd-8300-1a348318e74b" providerId="AD"/>
      </p:ext>
    </p:extLst>
  </p:cmAuthor>
  <p:cmAuthor id="22" name="EK" initials="EK" lastIdx="26" clrIdx="21">
    <p:extLst>
      <p:ext uri="{19B8F6BF-5375-455C-9EA6-DF929625EA0E}">
        <p15:presenceInfo xmlns:p15="http://schemas.microsoft.com/office/powerpoint/2012/main" userId="EK" providerId="None"/>
      </p:ext>
    </p:extLst>
  </p:cmAuthor>
  <p:cmAuthor id="23" name="Garyali, Sumedha" initials="sgaryali" lastIdx="1" clrIdx="22">
    <p:extLst>
      <p:ext uri="{19B8F6BF-5375-455C-9EA6-DF929625EA0E}">
        <p15:presenceInfo xmlns:p15="http://schemas.microsoft.com/office/powerpoint/2012/main" userId="Garyali, Sumedha" providerId="None"/>
      </p:ext>
    </p:extLst>
  </p:cmAuthor>
  <p:cmAuthor id="24" name="Writer" initials="sgaryali" lastIdx="1424" clrIdx="23">
    <p:extLst>
      <p:ext uri="{19B8F6BF-5375-455C-9EA6-DF929625EA0E}">
        <p15:presenceInfo xmlns:p15="http://schemas.microsoft.com/office/powerpoint/2012/main" userId="Writer" providerId="None"/>
      </p:ext>
    </p:extLst>
  </p:cmAuthor>
  <p:cmAuthor id="25" name="Thengo Tembo" initials="TT" lastIdx="12" clrIdx="24">
    <p:extLst>
      <p:ext uri="{19B8F6BF-5375-455C-9EA6-DF929625EA0E}">
        <p15:presenceInfo xmlns:p15="http://schemas.microsoft.com/office/powerpoint/2012/main" userId="S::thengo.tembo@gilead.com::41ef0c36-8b11-4e42-8f98-69ee09f51ad9" providerId="AD"/>
      </p:ext>
    </p:extLst>
  </p:cmAuthor>
  <p:cmAuthor id="26" name="Paul Pethick" initials="PP" lastIdx="8" clrIdx="25">
    <p:extLst>
      <p:ext uri="{19B8F6BF-5375-455C-9EA6-DF929625EA0E}">
        <p15:presenceInfo xmlns:p15="http://schemas.microsoft.com/office/powerpoint/2012/main" userId="S::paul.pethick@invivo.com::071d60fa-ee1c-4b0c-be31-832583475d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9EA"/>
    <a:srgbClr val="A6A6A6"/>
    <a:srgbClr val="EFF0F1"/>
    <a:srgbClr val="203661"/>
    <a:srgbClr val="96999F"/>
    <a:srgbClr val="55A2A8"/>
    <a:srgbClr val="54565B"/>
    <a:srgbClr val="F2F2F2"/>
    <a:srgbClr val="9CD6D3"/>
    <a:srgbClr val="8DC1C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9F9427-9A89-4FAD-8855-0F3BF9256A95}" v="5" dt="2024-04-23T14:05:51.4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089" autoAdjust="0"/>
  </p:normalViewPr>
  <p:slideViewPr>
    <p:cSldViewPr snapToGrid="0">
      <p:cViewPr varScale="1">
        <p:scale>
          <a:sx n="74" d="100"/>
          <a:sy n="74" d="100"/>
        </p:scale>
        <p:origin x="558" y="66"/>
      </p:cViewPr>
      <p:guideLst>
        <p:guide orient="horz" pos="3120"/>
        <p:guide pos="264"/>
        <p:guide orient="horz" pos="4156"/>
        <p:guide pos="7464"/>
        <p:guide pos="415"/>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s Söderholm" userId="b146546c-6bf2-46e5-8a26-00cca8510547" providerId="ADAL" clId="{069F9427-9A89-4FAD-8855-0F3BF9256A95}"/>
    <pc:docChg chg="undo custSel addSld delSld modSld sldOrd delMainMaster modMainMaster delSection modSection">
      <pc:chgData name="Jonas Söderholm" userId="b146546c-6bf2-46e5-8a26-00cca8510547" providerId="ADAL" clId="{069F9427-9A89-4FAD-8855-0F3BF9256A95}" dt="2024-04-23T14:05:51.483" v="453"/>
      <pc:docMkLst>
        <pc:docMk/>
      </pc:docMkLst>
      <pc:sldChg chg="del">
        <pc:chgData name="Jonas Söderholm" userId="b146546c-6bf2-46e5-8a26-00cca8510547" providerId="ADAL" clId="{069F9427-9A89-4FAD-8855-0F3BF9256A95}" dt="2024-04-05T10:56:22.007" v="0" actId="47"/>
        <pc:sldMkLst>
          <pc:docMk/>
          <pc:sldMk cId="2465553748" sldId="256"/>
        </pc:sldMkLst>
      </pc:sldChg>
      <pc:sldChg chg="modSp mod">
        <pc:chgData name="Jonas Söderholm" userId="b146546c-6bf2-46e5-8a26-00cca8510547" providerId="ADAL" clId="{069F9427-9A89-4FAD-8855-0F3BF9256A95}" dt="2024-04-05T12:48:32.612" v="34" actId="57"/>
        <pc:sldMkLst>
          <pc:docMk/>
          <pc:sldMk cId="2228453048" sldId="8392"/>
        </pc:sldMkLst>
        <pc:spChg chg="mod">
          <ac:chgData name="Jonas Söderholm" userId="b146546c-6bf2-46e5-8a26-00cca8510547" providerId="ADAL" clId="{069F9427-9A89-4FAD-8855-0F3BF9256A95}" dt="2024-04-05T12:48:32.612" v="34" actId="57"/>
          <ac:spMkLst>
            <pc:docMk/>
            <pc:sldMk cId="2228453048" sldId="8392"/>
            <ac:spMk id="3" creationId="{187CB0A9-3628-467A-AFB6-C5C9D1707BF5}"/>
          </ac:spMkLst>
        </pc:spChg>
      </pc:sldChg>
      <pc:sldChg chg="addSp delSp modSp mod ord">
        <pc:chgData name="Jonas Söderholm" userId="b146546c-6bf2-46e5-8a26-00cca8510547" providerId="ADAL" clId="{069F9427-9A89-4FAD-8855-0F3BF9256A95}" dt="2024-04-23T14:05:07.339" v="447" actId="20577"/>
        <pc:sldMkLst>
          <pc:docMk/>
          <pc:sldMk cId="3846850421" sldId="13132"/>
        </pc:sldMkLst>
        <pc:spChg chg="mod">
          <ac:chgData name="Jonas Söderholm" userId="b146546c-6bf2-46e5-8a26-00cca8510547" providerId="ADAL" clId="{069F9427-9A89-4FAD-8855-0F3BF9256A95}" dt="2024-04-23T14:05:07.339" v="447" actId="20577"/>
          <ac:spMkLst>
            <pc:docMk/>
            <pc:sldMk cId="3846850421" sldId="13132"/>
            <ac:spMk id="3" creationId="{5A3D357E-3BBF-F065-5974-A13C9681B474}"/>
          </ac:spMkLst>
        </pc:spChg>
        <pc:spChg chg="del mod">
          <ac:chgData name="Jonas Söderholm" userId="b146546c-6bf2-46e5-8a26-00cca8510547" providerId="ADAL" clId="{069F9427-9A89-4FAD-8855-0F3BF9256A95}" dt="2024-04-23T13:56:51.476" v="186"/>
          <ac:spMkLst>
            <pc:docMk/>
            <pc:sldMk cId="3846850421" sldId="13132"/>
            <ac:spMk id="4" creationId="{C225DACC-4015-140A-09F8-6E402D7178DA}"/>
          </ac:spMkLst>
        </pc:spChg>
        <pc:spChg chg="add mod">
          <ac:chgData name="Jonas Söderholm" userId="b146546c-6bf2-46e5-8a26-00cca8510547" providerId="ADAL" clId="{069F9427-9A89-4FAD-8855-0F3BF9256A95}" dt="2024-04-23T14:04:32.613" v="423" actId="1035"/>
          <ac:spMkLst>
            <pc:docMk/>
            <pc:sldMk cId="3846850421" sldId="13132"/>
            <ac:spMk id="5" creationId="{7EC3582A-602F-42B1-02A4-7B64FA253E94}"/>
          </ac:spMkLst>
        </pc:spChg>
        <pc:spChg chg="add mod">
          <ac:chgData name="Jonas Söderholm" userId="b146546c-6bf2-46e5-8a26-00cca8510547" providerId="ADAL" clId="{069F9427-9A89-4FAD-8855-0F3BF9256A95}" dt="2024-04-23T14:04:32.613" v="423" actId="1035"/>
          <ac:spMkLst>
            <pc:docMk/>
            <pc:sldMk cId="3846850421" sldId="13132"/>
            <ac:spMk id="7" creationId="{8482975A-F4DE-B8E6-E864-5674D006DC52}"/>
          </ac:spMkLst>
        </pc:spChg>
      </pc:sldChg>
      <pc:sldChg chg="del">
        <pc:chgData name="Jonas Söderholm" userId="b146546c-6bf2-46e5-8a26-00cca8510547" providerId="ADAL" clId="{069F9427-9A89-4FAD-8855-0F3BF9256A95}" dt="2024-04-05T10:56:22.007" v="0" actId="47"/>
        <pc:sldMkLst>
          <pc:docMk/>
          <pc:sldMk cId="3170561423" sldId="2145707102"/>
        </pc:sldMkLst>
      </pc:sldChg>
      <pc:sldChg chg="del">
        <pc:chgData name="Jonas Söderholm" userId="b146546c-6bf2-46e5-8a26-00cca8510547" providerId="ADAL" clId="{069F9427-9A89-4FAD-8855-0F3BF9256A95}" dt="2024-04-05T10:56:22.007" v="0" actId="47"/>
        <pc:sldMkLst>
          <pc:docMk/>
          <pc:sldMk cId="3120206341" sldId="2147375750"/>
        </pc:sldMkLst>
      </pc:sldChg>
      <pc:sldChg chg="del">
        <pc:chgData name="Jonas Söderholm" userId="b146546c-6bf2-46e5-8a26-00cca8510547" providerId="ADAL" clId="{069F9427-9A89-4FAD-8855-0F3BF9256A95}" dt="2024-04-05T10:56:22.007" v="0" actId="47"/>
        <pc:sldMkLst>
          <pc:docMk/>
          <pc:sldMk cId="3091627429" sldId="2147375751"/>
        </pc:sldMkLst>
      </pc:sldChg>
      <pc:sldChg chg="del">
        <pc:chgData name="Jonas Söderholm" userId="b146546c-6bf2-46e5-8a26-00cca8510547" providerId="ADAL" clId="{069F9427-9A89-4FAD-8855-0F3BF9256A95}" dt="2024-04-05T10:56:22.007" v="0" actId="47"/>
        <pc:sldMkLst>
          <pc:docMk/>
          <pc:sldMk cId="700309115" sldId="2147375752"/>
        </pc:sldMkLst>
      </pc:sldChg>
      <pc:sldChg chg="del">
        <pc:chgData name="Jonas Söderholm" userId="b146546c-6bf2-46e5-8a26-00cca8510547" providerId="ADAL" clId="{069F9427-9A89-4FAD-8855-0F3BF9256A95}" dt="2024-04-05T10:56:22.007" v="0" actId="47"/>
        <pc:sldMkLst>
          <pc:docMk/>
          <pc:sldMk cId="2400224748" sldId="2147375820"/>
        </pc:sldMkLst>
      </pc:sldChg>
      <pc:sldChg chg="del">
        <pc:chgData name="Jonas Söderholm" userId="b146546c-6bf2-46e5-8a26-00cca8510547" providerId="ADAL" clId="{069F9427-9A89-4FAD-8855-0F3BF9256A95}" dt="2024-04-05T10:56:22.007" v="0" actId="47"/>
        <pc:sldMkLst>
          <pc:docMk/>
          <pc:sldMk cId="3262223087" sldId="2147375821"/>
        </pc:sldMkLst>
      </pc:sldChg>
      <pc:sldChg chg="del">
        <pc:chgData name="Jonas Söderholm" userId="b146546c-6bf2-46e5-8a26-00cca8510547" providerId="ADAL" clId="{069F9427-9A89-4FAD-8855-0F3BF9256A95}" dt="2024-04-05T10:56:22.007" v="0" actId="47"/>
        <pc:sldMkLst>
          <pc:docMk/>
          <pc:sldMk cId="1202847769" sldId="2147375822"/>
        </pc:sldMkLst>
      </pc:sldChg>
      <pc:sldChg chg="del">
        <pc:chgData name="Jonas Söderholm" userId="b146546c-6bf2-46e5-8a26-00cca8510547" providerId="ADAL" clId="{069F9427-9A89-4FAD-8855-0F3BF9256A95}" dt="2024-04-05T10:56:22.007" v="0" actId="47"/>
        <pc:sldMkLst>
          <pc:docMk/>
          <pc:sldMk cId="3746903486" sldId="2147375823"/>
        </pc:sldMkLst>
      </pc:sldChg>
      <pc:sldChg chg="del">
        <pc:chgData name="Jonas Söderholm" userId="b146546c-6bf2-46e5-8a26-00cca8510547" providerId="ADAL" clId="{069F9427-9A89-4FAD-8855-0F3BF9256A95}" dt="2024-04-05T10:56:22.007" v="0" actId="47"/>
        <pc:sldMkLst>
          <pc:docMk/>
          <pc:sldMk cId="1263778569" sldId="2147375825"/>
        </pc:sldMkLst>
      </pc:sldChg>
      <pc:sldChg chg="del">
        <pc:chgData name="Jonas Söderholm" userId="b146546c-6bf2-46e5-8a26-00cca8510547" providerId="ADAL" clId="{069F9427-9A89-4FAD-8855-0F3BF9256A95}" dt="2024-04-05T12:43:31.072" v="3" actId="47"/>
        <pc:sldMkLst>
          <pc:docMk/>
          <pc:sldMk cId="3467299447" sldId="2147375828"/>
        </pc:sldMkLst>
      </pc:sldChg>
      <pc:sldChg chg="del">
        <pc:chgData name="Jonas Söderholm" userId="b146546c-6bf2-46e5-8a26-00cca8510547" providerId="ADAL" clId="{069F9427-9A89-4FAD-8855-0F3BF9256A95}" dt="2024-04-05T12:43:31.072" v="3" actId="47"/>
        <pc:sldMkLst>
          <pc:docMk/>
          <pc:sldMk cId="1091022419" sldId="2147375829"/>
        </pc:sldMkLst>
      </pc:sldChg>
      <pc:sldChg chg="del">
        <pc:chgData name="Jonas Söderholm" userId="b146546c-6bf2-46e5-8a26-00cca8510547" providerId="ADAL" clId="{069F9427-9A89-4FAD-8855-0F3BF9256A95}" dt="2024-04-05T12:43:10.617" v="2" actId="47"/>
        <pc:sldMkLst>
          <pc:docMk/>
          <pc:sldMk cId="3601555080" sldId="2147375831"/>
        </pc:sldMkLst>
      </pc:sldChg>
      <pc:sldChg chg="del">
        <pc:chgData name="Jonas Söderholm" userId="b146546c-6bf2-46e5-8a26-00cca8510547" providerId="ADAL" clId="{069F9427-9A89-4FAD-8855-0F3BF9256A95}" dt="2024-04-05T12:43:10.617" v="2" actId="47"/>
        <pc:sldMkLst>
          <pc:docMk/>
          <pc:sldMk cId="538806153" sldId="2147375832"/>
        </pc:sldMkLst>
      </pc:sldChg>
      <pc:sldChg chg="del">
        <pc:chgData name="Jonas Söderholm" userId="b146546c-6bf2-46e5-8a26-00cca8510547" providerId="ADAL" clId="{069F9427-9A89-4FAD-8855-0F3BF9256A95}" dt="2024-04-05T12:43:10.617" v="2" actId="47"/>
        <pc:sldMkLst>
          <pc:docMk/>
          <pc:sldMk cId="3144985226" sldId="2147375833"/>
        </pc:sldMkLst>
      </pc:sldChg>
      <pc:sldChg chg="del">
        <pc:chgData name="Jonas Söderholm" userId="b146546c-6bf2-46e5-8a26-00cca8510547" providerId="ADAL" clId="{069F9427-9A89-4FAD-8855-0F3BF9256A95}" dt="2024-04-05T12:43:10.617" v="2" actId="47"/>
        <pc:sldMkLst>
          <pc:docMk/>
          <pc:sldMk cId="1739378612" sldId="2147375834"/>
        </pc:sldMkLst>
      </pc:sldChg>
      <pc:sldChg chg="del">
        <pc:chgData name="Jonas Söderholm" userId="b146546c-6bf2-46e5-8a26-00cca8510547" providerId="ADAL" clId="{069F9427-9A89-4FAD-8855-0F3BF9256A95}" dt="2024-04-05T12:43:10.617" v="2" actId="47"/>
        <pc:sldMkLst>
          <pc:docMk/>
          <pc:sldMk cId="2343227120" sldId="2147375835"/>
        </pc:sldMkLst>
      </pc:sldChg>
      <pc:sldChg chg="del">
        <pc:chgData name="Jonas Söderholm" userId="b146546c-6bf2-46e5-8a26-00cca8510547" providerId="ADAL" clId="{069F9427-9A89-4FAD-8855-0F3BF9256A95}" dt="2024-04-05T12:43:10.617" v="2" actId="47"/>
        <pc:sldMkLst>
          <pc:docMk/>
          <pc:sldMk cId="1470374629" sldId="2147375836"/>
        </pc:sldMkLst>
      </pc:sldChg>
      <pc:sldChg chg="del">
        <pc:chgData name="Jonas Söderholm" userId="b146546c-6bf2-46e5-8a26-00cca8510547" providerId="ADAL" clId="{069F9427-9A89-4FAD-8855-0F3BF9256A95}" dt="2024-04-05T10:56:22.007" v="0" actId="47"/>
        <pc:sldMkLst>
          <pc:docMk/>
          <pc:sldMk cId="3489878556" sldId="2147375837"/>
        </pc:sldMkLst>
      </pc:sldChg>
      <pc:sldChg chg="del">
        <pc:chgData name="Jonas Söderholm" userId="b146546c-6bf2-46e5-8a26-00cca8510547" providerId="ADAL" clId="{069F9427-9A89-4FAD-8855-0F3BF9256A95}" dt="2024-04-05T10:56:22.007" v="0" actId="47"/>
        <pc:sldMkLst>
          <pc:docMk/>
          <pc:sldMk cId="1723714329" sldId="2147375838"/>
        </pc:sldMkLst>
      </pc:sldChg>
      <pc:sldChg chg="del">
        <pc:chgData name="Jonas Söderholm" userId="b146546c-6bf2-46e5-8a26-00cca8510547" providerId="ADAL" clId="{069F9427-9A89-4FAD-8855-0F3BF9256A95}" dt="2024-04-05T12:43:31.072" v="3" actId="47"/>
        <pc:sldMkLst>
          <pc:docMk/>
          <pc:sldMk cId="973236326" sldId="2147375846"/>
        </pc:sldMkLst>
      </pc:sldChg>
      <pc:sldChg chg="del">
        <pc:chgData name="Jonas Söderholm" userId="b146546c-6bf2-46e5-8a26-00cca8510547" providerId="ADAL" clId="{069F9427-9A89-4FAD-8855-0F3BF9256A95}" dt="2024-04-05T12:43:31.072" v="3" actId="47"/>
        <pc:sldMkLst>
          <pc:docMk/>
          <pc:sldMk cId="1093133689" sldId="2147375847"/>
        </pc:sldMkLst>
      </pc:sldChg>
      <pc:sldChg chg="del">
        <pc:chgData name="Jonas Söderholm" userId="b146546c-6bf2-46e5-8a26-00cca8510547" providerId="ADAL" clId="{069F9427-9A89-4FAD-8855-0F3BF9256A95}" dt="2024-04-05T12:43:31.072" v="3" actId="47"/>
        <pc:sldMkLst>
          <pc:docMk/>
          <pc:sldMk cId="2605987894" sldId="2147375848"/>
        </pc:sldMkLst>
      </pc:sldChg>
      <pc:sldChg chg="del">
        <pc:chgData name="Jonas Söderholm" userId="b146546c-6bf2-46e5-8a26-00cca8510547" providerId="ADAL" clId="{069F9427-9A89-4FAD-8855-0F3BF9256A95}" dt="2024-04-05T12:43:10.617" v="2" actId="47"/>
        <pc:sldMkLst>
          <pc:docMk/>
          <pc:sldMk cId="1993951595" sldId="2147375851"/>
        </pc:sldMkLst>
      </pc:sldChg>
      <pc:sldChg chg="del">
        <pc:chgData name="Jonas Söderholm" userId="b146546c-6bf2-46e5-8a26-00cca8510547" providerId="ADAL" clId="{069F9427-9A89-4FAD-8855-0F3BF9256A95}" dt="2024-04-05T12:43:31.072" v="3" actId="47"/>
        <pc:sldMkLst>
          <pc:docMk/>
          <pc:sldMk cId="2192937725" sldId="2147375853"/>
        </pc:sldMkLst>
      </pc:sldChg>
      <pc:sldChg chg="del">
        <pc:chgData name="Jonas Söderholm" userId="b146546c-6bf2-46e5-8a26-00cca8510547" providerId="ADAL" clId="{069F9427-9A89-4FAD-8855-0F3BF9256A95}" dt="2024-04-05T12:43:10.617" v="2" actId="47"/>
        <pc:sldMkLst>
          <pc:docMk/>
          <pc:sldMk cId="1341396425" sldId="2147375855"/>
        </pc:sldMkLst>
      </pc:sldChg>
      <pc:sldChg chg="del">
        <pc:chgData name="Jonas Söderholm" userId="b146546c-6bf2-46e5-8a26-00cca8510547" providerId="ADAL" clId="{069F9427-9A89-4FAD-8855-0F3BF9256A95}" dt="2024-04-05T10:56:22.007" v="0" actId="47"/>
        <pc:sldMkLst>
          <pc:docMk/>
          <pc:sldMk cId="3973827916" sldId="2147375859"/>
        </pc:sldMkLst>
      </pc:sldChg>
      <pc:sldChg chg="del">
        <pc:chgData name="Jonas Söderholm" userId="b146546c-6bf2-46e5-8a26-00cca8510547" providerId="ADAL" clId="{069F9427-9A89-4FAD-8855-0F3BF9256A95}" dt="2024-04-05T10:56:22.007" v="0" actId="47"/>
        <pc:sldMkLst>
          <pc:docMk/>
          <pc:sldMk cId="3052069273" sldId="2147375860"/>
        </pc:sldMkLst>
      </pc:sldChg>
      <pc:sldChg chg="del">
        <pc:chgData name="Jonas Söderholm" userId="b146546c-6bf2-46e5-8a26-00cca8510547" providerId="ADAL" clId="{069F9427-9A89-4FAD-8855-0F3BF9256A95}" dt="2024-04-05T12:43:31.072" v="3" actId="47"/>
        <pc:sldMkLst>
          <pc:docMk/>
          <pc:sldMk cId="1054401043" sldId="2147375861"/>
        </pc:sldMkLst>
      </pc:sldChg>
      <pc:sldChg chg="del">
        <pc:chgData name="Jonas Söderholm" userId="b146546c-6bf2-46e5-8a26-00cca8510547" providerId="ADAL" clId="{069F9427-9A89-4FAD-8855-0F3BF9256A95}" dt="2024-04-05T12:43:31.072" v="3" actId="47"/>
        <pc:sldMkLst>
          <pc:docMk/>
          <pc:sldMk cId="2979673767" sldId="2147375864"/>
        </pc:sldMkLst>
      </pc:sldChg>
      <pc:sldChg chg="del">
        <pc:chgData name="Jonas Söderholm" userId="b146546c-6bf2-46e5-8a26-00cca8510547" providerId="ADAL" clId="{069F9427-9A89-4FAD-8855-0F3BF9256A95}" dt="2024-04-05T12:43:31.072" v="3" actId="47"/>
        <pc:sldMkLst>
          <pc:docMk/>
          <pc:sldMk cId="2285319826" sldId="2147375865"/>
        </pc:sldMkLst>
      </pc:sldChg>
      <pc:sldChg chg="del">
        <pc:chgData name="Jonas Söderholm" userId="b146546c-6bf2-46e5-8a26-00cca8510547" providerId="ADAL" clId="{069F9427-9A89-4FAD-8855-0F3BF9256A95}" dt="2024-04-05T10:56:22.007" v="0" actId="47"/>
        <pc:sldMkLst>
          <pc:docMk/>
          <pc:sldMk cId="3300538733" sldId="2147375866"/>
        </pc:sldMkLst>
      </pc:sldChg>
      <pc:sldChg chg="del">
        <pc:chgData name="Jonas Söderholm" userId="b146546c-6bf2-46e5-8a26-00cca8510547" providerId="ADAL" clId="{069F9427-9A89-4FAD-8855-0F3BF9256A95}" dt="2024-04-05T12:43:31.072" v="3" actId="47"/>
        <pc:sldMkLst>
          <pc:docMk/>
          <pc:sldMk cId="1123587585" sldId="2147375867"/>
        </pc:sldMkLst>
      </pc:sldChg>
      <pc:sldChg chg="del">
        <pc:chgData name="Jonas Söderholm" userId="b146546c-6bf2-46e5-8a26-00cca8510547" providerId="ADAL" clId="{069F9427-9A89-4FAD-8855-0F3BF9256A95}" dt="2024-04-05T10:56:22.007" v="0" actId="47"/>
        <pc:sldMkLst>
          <pc:docMk/>
          <pc:sldMk cId="1623949804" sldId="2147375868"/>
        </pc:sldMkLst>
      </pc:sldChg>
      <pc:sldChg chg="del">
        <pc:chgData name="Jonas Söderholm" userId="b146546c-6bf2-46e5-8a26-00cca8510547" providerId="ADAL" clId="{069F9427-9A89-4FAD-8855-0F3BF9256A95}" dt="2024-04-05T10:56:22.007" v="0" actId="47"/>
        <pc:sldMkLst>
          <pc:docMk/>
          <pc:sldMk cId="1760666313" sldId="2147375869"/>
        </pc:sldMkLst>
      </pc:sldChg>
      <pc:sldChg chg="del">
        <pc:chgData name="Jonas Söderholm" userId="b146546c-6bf2-46e5-8a26-00cca8510547" providerId="ADAL" clId="{069F9427-9A89-4FAD-8855-0F3BF9256A95}" dt="2024-04-05T10:56:22.007" v="0" actId="47"/>
        <pc:sldMkLst>
          <pc:docMk/>
          <pc:sldMk cId="2851748838" sldId="2147481472"/>
        </pc:sldMkLst>
      </pc:sldChg>
      <pc:sldChg chg="del">
        <pc:chgData name="Jonas Söderholm" userId="b146546c-6bf2-46e5-8a26-00cca8510547" providerId="ADAL" clId="{069F9427-9A89-4FAD-8855-0F3BF9256A95}" dt="2024-04-05T10:56:22.007" v="0" actId="47"/>
        <pc:sldMkLst>
          <pc:docMk/>
          <pc:sldMk cId="362370897" sldId="2147481473"/>
        </pc:sldMkLst>
      </pc:sldChg>
      <pc:sldChg chg="del">
        <pc:chgData name="Jonas Söderholm" userId="b146546c-6bf2-46e5-8a26-00cca8510547" providerId="ADAL" clId="{069F9427-9A89-4FAD-8855-0F3BF9256A95}" dt="2024-04-05T10:56:22.007" v="0" actId="47"/>
        <pc:sldMkLst>
          <pc:docMk/>
          <pc:sldMk cId="997964244" sldId="2147481474"/>
        </pc:sldMkLst>
      </pc:sldChg>
      <pc:sldChg chg="del">
        <pc:chgData name="Jonas Söderholm" userId="b146546c-6bf2-46e5-8a26-00cca8510547" providerId="ADAL" clId="{069F9427-9A89-4FAD-8855-0F3BF9256A95}" dt="2024-04-05T12:43:31.072" v="3" actId="47"/>
        <pc:sldMkLst>
          <pc:docMk/>
          <pc:sldMk cId="1242139300" sldId="2147481475"/>
        </pc:sldMkLst>
      </pc:sldChg>
      <pc:sldChg chg="del">
        <pc:chgData name="Jonas Söderholm" userId="b146546c-6bf2-46e5-8a26-00cca8510547" providerId="ADAL" clId="{069F9427-9A89-4FAD-8855-0F3BF9256A95}" dt="2024-04-05T12:43:10.617" v="2" actId="47"/>
        <pc:sldMkLst>
          <pc:docMk/>
          <pc:sldMk cId="3286436663" sldId="2147481478"/>
        </pc:sldMkLst>
      </pc:sldChg>
      <pc:sldChg chg="del">
        <pc:chgData name="Jonas Söderholm" userId="b146546c-6bf2-46e5-8a26-00cca8510547" providerId="ADAL" clId="{069F9427-9A89-4FAD-8855-0F3BF9256A95}" dt="2024-04-05T12:43:10.617" v="2" actId="47"/>
        <pc:sldMkLst>
          <pc:docMk/>
          <pc:sldMk cId="3527497270" sldId="2147481479"/>
        </pc:sldMkLst>
      </pc:sldChg>
      <pc:sldChg chg="del">
        <pc:chgData name="Jonas Söderholm" userId="b146546c-6bf2-46e5-8a26-00cca8510547" providerId="ADAL" clId="{069F9427-9A89-4FAD-8855-0F3BF9256A95}" dt="2024-04-05T12:43:10.617" v="2" actId="47"/>
        <pc:sldMkLst>
          <pc:docMk/>
          <pc:sldMk cId="3557919865" sldId="2147481480"/>
        </pc:sldMkLst>
      </pc:sldChg>
      <pc:sldChg chg="del">
        <pc:chgData name="Jonas Söderholm" userId="b146546c-6bf2-46e5-8a26-00cca8510547" providerId="ADAL" clId="{069F9427-9A89-4FAD-8855-0F3BF9256A95}" dt="2024-04-05T12:43:31.072" v="3" actId="47"/>
        <pc:sldMkLst>
          <pc:docMk/>
          <pc:sldMk cId="532490499" sldId="2147481481"/>
        </pc:sldMkLst>
      </pc:sldChg>
      <pc:sldChg chg="del">
        <pc:chgData name="Jonas Söderholm" userId="b146546c-6bf2-46e5-8a26-00cca8510547" providerId="ADAL" clId="{069F9427-9A89-4FAD-8855-0F3BF9256A95}" dt="2024-04-05T12:43:31.072" v="3" actId="47"/>
        <pc:sldMkLst>
          <pc:docMk/>
          <pc:sldMk cId="1230779234" sldId="2147481482"/>
        </pc:sldMkLst>
      </pc:sldChg>
      <pc:sldChg chg="del">
        <pc:chgData name="Jonas Söderholm" userId="b146546c-6bf2-46e5-8a26-00cca8510547" providerId="ADAL" clId="{069F9427-9A89-4FAD-8855-0F3BF9256A95}" dt="2024-04-05T12:48:34.555" v="35" actId="47"/>
        <pc:sldMkLst>
          <pc:docMk/>
          <pc:sldMk cId="4029744222" sldId="2147481483"/>
        </pc:sldMkLst>
      </pc:sldChg>
      <pc:sldChg chg="del">
        <pc:chgData name="Jonas Söderholm" userId="b146546c-6bf2-46e5-8a26-00cca8510547" providerId="ADAL" clId="{069F9427-9A89-4FAD-8855-0F3BF9256A95}" dt="2024-04-05T12:43:31.072" v="3" actId="47"/>
        <pc:sldMkLst>
          <pc:docMk/>
          <pc:sldMk cId="458968082" sldId="2147481495"/>
        </pc:sldMkLst>
      </pc:sldChg>
      <pc:sldChg chg="del">
        <pc:chgData name="Jonas Söderholm" userId="b146546c-6bf2-46e5-8a26-00cca8510547" providerId="ADAL" clId="{069F9427-9A89-4FAD-8855-0F3BF9256A95}" dt="2024-04-05T12:43:31.072" v="3" actId="47"/>
        <pc:sldMkLst>
          <pc:docMk/>
          <pc:sldMk cId="256173788" sldId="2147481496"/>
        </pc:sldMkLst>
      </pc:sldChg>
      <pc:sldChg chg="del">
        <pc:chgData name="Jonas Söderholm" userId="b146546c-6bf2-46e5-8a26-00cca8510547" providerId="ADAL" clId="{069F9427-9A89-4FAD-8855-0F3BF9256A95}" dt="2024-04-05T12:43:31.072" v="3" actId="47"/>
        <pc:sldMkLst>
          <pc:docMk/>
          <pc:sldMk cId="723281314" sldId="2147481497"/>
        </pc:sldMkLst>
      </pc:sldChg>
      <pc:sldChg chg="addSp modSp add mod">
        <pc:chgData name="Jonas Söderholm" userId="b146546c-6bf2-46e5-8a26-00cca8510547" providerId="ADAL" clId="{069F9427-9A89-4FAD-8855-0F3BF9256A95}" dt="2024-04-23T14:05:51.483" v="453"/>
        <pc:sldMkLst>
          <pc:docMk/>
          <pc:sldMk cId="1456972824" sldId="2147481500"/>
        </pc:sldMkLst>
        <pc:spChg chg="add mod">
          <ac:chgData name="Jonas Söderholm" userId="b146546c-6bf2-46e5-8a26-00cca8510547" providerId="ADAL" clId="{069F9427-9A89-4FAD-8855-0F3BF9256A95}" dt="2024-04-23T14:05:51.483" v="453"/>
          <ac:spMkLst>
            <pc:docMk/>
            <pc:sldMk cId="1456972824" sldId="2147481500"/>
            <ac:spMk id="2" creationId="{ACECD521-1E3F-F93A-F875-0E9ADCDB5E53}"/>
          </ac:spMkLst>
        </pc:spChg>
        <pc:spChg chg="mod">
          <ac:chgData name="Jonas Söderholm" userId="b146546c-6bf2-46e5-8a26-00cca8510547" providerId="ADAL" clId="{069F9427-9A89-4FAD-8855-0F3BF9256A95}" dt="2024-04-23T14:05:44.382" v="452" actId="1076"/>
          <ac:spMkLst>
            <pc:docMk/>
            <pc:sldMk cId="1456972824" sldId="2147481500"/>
            <ac:spMk id="3" creationId="{5A3D357E-3BBF-F065-5974-A13C9681B474}"/>
          </ac:spMkLst>
        </pc:spChg>
        <pc:spChg chg="mod">
          <ac:chgData name="Jonas Söderholm" userId="b146546c-6bf2-46e5-8a26-00cca8510547" providerId="ADAL" clId="{069F9427-9A89-4FAD-8855-0F3BF9256A95}" dt="2024-04-23T14:05:44.382" v="452" actId="1076"/>
          <ac:spMkLst>
            <pc:docMk/>
            <pc:sldMk cId="1456972824" sldId="2147481500"/>
            <ac:spMk id="4" creationId="{C225DACC-4015-140A-09F8-6E402D7178DA}"/>
          </ac:spMkLst>
        </pc:spChg>
      </pc:sldChg>
      <pc:sldMasterChg chg="addSp modSp">
        <pc:chgData name="Jonas Söderholm" userId="b146546c-6bf2-46e5-8a26-00cca8510547" providerId="ADAL" clId="{069F9427-9A89-4FAD-8855-0F3BF9256A95}" dt="2024-04-05T13:03:08.530" v="180"/>
        <pc:sldMasterMkLst>
          <pc:docMk/>
          <pc:sldMasterMk cId="1746183321" sldId="2147483660"/>
        </pc:sldMasterMkLst>
        <pc:spChg chg="add mod">
          <ac:chgData name="Jonas Söderholm" userId="b146546c-6bf2-46e5-8a26-00cca8510547" providerId="ADAL" clId="{069F9427-9A89-4FAD-8855-0F3BF9256A95}" dt="2024-04-05T13:03:08.530" v="180"/>
          <ac:spMkLst>
            <pc:docMk/>
            <pc:sldMasterMk cId="1746183321" sldId="2147483660"/>
            <ac:spMk id="4" creationId="{BA977F55-BA93-AC10-0019-FFFA6CE76162}"/>
          </ac:spMkLst>
        </pc:spChg>
      </pc:sldMasterChg>
      <pc:sldMasterChg chg="del delSldLayout">
        <pc:chgData name="Jonas Söderholm" userId="b146546c-6bf2-46e5-8a26-00cca8510547" providerId="ADAL" clId="{069F9427-9A89-4FAD-8855-0F3BF9256A95}" dt="2024-04-05T12:48:34.555" v="35" actId="47"/>
        <pc:sldMasterMkLst>
          <pc:docMk/>
          <pc:sldMasterMk cId="1356880841" sldId="2147483998"/>
        </pc:sldMasterMkLst>
        <pc:sldLayoutChg chg="del">
          <pc:chgData name="Jonas Söderholm" userId="b146546c-6bf2-46e5-8a26-00cca8510547" providerId="ADAL" clId="{069F9427-9A89-4FAD-8855-0F3BF9256A95}" dt="2024-04-05T12:48:34.555" v="35" actId="47"/>
          <pc:sldLayoutMkLst>
            <pc:docMk/>
            <pc:sldMasterMk cId="1356880841" sldId="2147483998"/>
            <pc:sldLayoutMk cId="3663728143" sldId="2147483999"/>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2004186701" sldId="2147484000"/>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1255820964" sldId="2147484001"/>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542776207" sldId="2147484002"/>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1175861430" sldId="2147484003"/>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3427522368" sldId="2147484004"/>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3397571133" sldId="2147484005"/>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3200433823" sldId="2147484006"/>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180567632" sldId="2147484007"/>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90596923" sldId="2147484008"/>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2126252639" sldId="2147484009"/>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3850291552" sldId="2147484010"/>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532784418" sldId="2147484011"/>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4229713846" sldId="2147484012"/>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4229383082" sldId="2147484013"/>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2131368248" sldId="2147484014"/>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589942080" sldId="2147484015"/>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2543157794" sldId="2147484016"/>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461511416" sldId="2147484017"/>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3979824025" sldId="2147484018"/>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2343993781" sldId="2147484019"/>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3030828883" sldId="2147484020"/>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3106863971" sldId="2147484021"/>
          </pc:sldLayoutMkLst>
        </pc:sldLayoutChg>
        <pc:sldLayoutChg chg="del">
          <pc:chgData name="Jonas Söderholm" userId="b146546c-6bf2-46e5-8a26-00cca8510547" providerId="ADAL" clId="{069F9427-9A89-4FAD-8855-0F3BF9256A95}" dt="2024-04-05T12:48:34.555" v="35" actId="47"/>
          <pc:sldLayoutMkLst>
            <pc:docMk/>
            <pc:sldMasterMk cId="1356880841" sldId="2147483998"/>
            <pc:sldLayoutMk cId="463907028" sldId="2147484022"/>
          </pc:sldLayoutMkLst>
        </pc:sldLayoutChg>
        <pc:sldLayoutChg chg="del">
          <pc:chgData name="Jonas Söderholm" userId="b146546c-6bf2-46e5-8a26-00cca8510547" providerId="ADAL" clId="{069F9427-9A89-4FAD-8855-0F3BF9256A95}" dt="2024-04-05T10:56:22.007" v="0" actId="47"/>
          <pc:sldLayoutMkLst>
            <pc:docMk/>
            <pc:sldMasterMk cId="1356880841" sldId="2147483998"/>
            <pc:sldLayoutMk cId="2009500124" sldId="2147484059"/>
          </pc:sldLayoutMkLst>
        </pc:sldLayoutChg>
      </pc:sldMasterChg>
      <pc:sldMasterChg chg="addSp delSp modSp mod">
        <pc:chgData name="Jonas Söderholm" userId="b146546c-6bf2-46e5-8a26-00cca8510547" providerId="ADAL" clId="{069F9427-9A89-4FAD-8855-0F3BF9256A95}" dt="2024-04-05T13:02:45.007" v="179" actId="20577"/>
        <pc:sldMasterMkLst>
          <pc:docMk/>
          <pc:sldMasterMk cId="463957387" sldId="2147484035"/>
        </pc:sldMasterMkLst>
        <pc:spChg chg="del">
          <ac:chgData name="Jonas Söderholm" userId="b146546c-6bf2-46e5-8a26-00cca8510547" providerId="ADAL" clId="{069F9427-9A89-4FAD-8855-0F3BF9256A95}" dt="2024-04-05T13:02:39.279" v="174" actId="478"/>
          <ac:spMkLst>
            <pc:docMk/>
            <pc:sldMasterMk cId="463957387" sldId="2147484035"/>
            <ac:spMk id="3" creationId="{99E9C256-255C-FEF0-369F-EAAD32EF175C}"/>
          </ac:spMkLst>
        </pc:spChg>
        <pc:spChg chg="add mod">
          <ac:chgData name="Jonas Söderholm" userId="b146546c-6bf2-46e5-8a26-00cca8510547" providerId="ADAL" clId="{069F9427-9A89-4FAD-8855-0F3BF9256A95}" dt="2024-04-05T13:02:45.007" v="179" actId="20577"/>
          <ac:spMkLst>
            <pc:docMk/>
            <pc:sldMasterMk cId="463957387" sldId="2147484035"/>
            <ac:spMk id="4" creationId="{E86E0CE1-C616-A0D9-E685-A4A8D7720EE5}"/>
          </ac:spMkLst>
        </pc:spChg>
      </pc:sldMasterChg>
      <pc:sldMasterChg chg="del delSldLayout">
        <pc:chgData name="Jonas Söderholm" userId="b146546c-6bf2-46e5-8a26-00cca8510547" providerId="ADAL" clId="{069F9427-9A89-4FAD-8855-0F3BF9256A95}" dt="2024-04-05T10:56:22.007" v="0" actId="47"/>
        <pc:sldMasterMkLst>
          <pc:docMk/>
          <pc:sldMasterMk cId="271942103" sldId="2147484060"/>
        </pc:sldMasterMkLst>
        <pc:sldLayoutChg chg="del">
          <pc:chgData name="Jonas Söderholm" userId="b146546c-6bf2-46e5-8a26-00cca8510547" providerId="ADAL" clId="{069F9427-9A89-4FAD-8855-0F3BF9256A95}" dt="2024-04-05T10:56:22.007" v="0" actId="47"/>
          <pc:sldLayoutMkLst>
            <pc:docMk/>
            <pc:sldMasterMk cId="271942103" sldId="2147484060"/>
            <pc:sldLayoutMk cId="24115585" sldId="2147484061"/>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2277188791" sldId="2147484062"/>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3857442751" sldId="2147484063"/>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4042425715" sldId="2147484064"/>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1439945605" sldId="2147484065"/>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1972243994" sldId="2147484066"/>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147792429" sldId="2147484067"/>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1188794808" sldId="2147484068"/>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3434821151" sldId="2147484069"/>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1126032121" sldId="2147484070"/>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3158246304" sldId="2147484071"/>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16918236" sldId="2147484072"/>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1995986715" sldId="2147484073"/>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360909097" sldId="2147484074"/>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3504217918" sldId="2147484075"/>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1296370315" sldId="2147484076"/>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1305828439" sldId="2147484077"/>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1901196157" sldId="2147484078"/>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862759319" sldId="2147484079"/>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1316224994" sldId="2147484080"/>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3101760146" sldId="2147484081"/>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144764309" sldId="2147484082"/>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2721881861" sldId="2147484083"/>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311800782" sldId="2147484084"/>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4041016466" sldId="2147484085"/>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3300995902" sldId="2147484086"/>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104030019" sldId="2147484087"/>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823171160" sldId="2147484088"/>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3551980525" sldId="2147484089"/>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2492919158" sldId="2147484090"/>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1611852374" sldId="2147484091"/>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574135367" sldId="2147484092"/>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827324225" sldId="2147484093"/>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1609340226" sldId="2147484094"/>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1634668390" sldId="2147484095"/>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4144354589" sldId="2147484096"/>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313456017" sldId="2147484097"/>
          </pc:sldLayoutMkLst>
        </pc:sldLayoutChg>
        <pc:sldLayoutChg chg="del">
          <pc:chgData name="Jonas Söderholm" userId="b146546c-6bf2-46e5-8a26-00cca8510547" providerId="ADAL" clId="{069F9427-9A89-4FAD-8855-0F3BF9256A95}" dt="2024-04-05T10:56:22.007" v="0" actId="47"/>
          <pc:sldLayoutMkLst>
            <pc:docMk/>
            <pc:sldMasterMk cId="271942103" sldId="2147484060"/>
            <pc:sldLayoutMk cId="240282047" sldId="2147484098"/>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5"/>
            <c:spPr>
              <a:noFill/>
              <a:ln w="9525">
                <a:noFill/>
              </a:ln>
              <a:effectLst/>
            </c:spPr>
          </c:marker>
          <c:xVal>
            <c:numRef>
              <c:f>Sheet1!$A$2:$A$4</c:f>
              <c:numCache>
                <c:formatCode>General</c:formatCode>
                <c:ptCount val="3"/>
                <c:pt idx="0">
                  <c:v>1</c:v>
                </c:pt>
                <c:pt idx="1">
                  <c:v>1</c:v>
                </c:pt>
                <c:pt idx="2">
                  <c:v>1</c:v>
                </c:pt>
              </c:numCache>
            </c:numRef>
          </c:xVal>
          <c:yVal>
            <c:numRef>
              <c:f>Sheet1!$B$2:$B$4</c:f>
              <c:numCache>
                <c:formatCode>General</c:formatCode>
                <c:ptCount val="3"/>
                <c:pt idx="0">
                  <c:v>1</c:v>
                </c:pt>
                <c:pt idx="1">
                  <c:v>1</c:v>
                </c:pt>
                <c:pt idx="2">
                  <c:v>1</c:v>
                </c:pt>
              </c:numCache>
            </c:numRef>
          </c:yVal>
          <c:smooth val="0"/>
          <c:extLst>
            <c:ext xmlns:c16="http://schemas.microsoft.com/office/drawing/2014/chart" uri="{C3380CC4-5D6E-409C-BE32-E72D297353CC}">
              <c16:uniqueId val="{00000000-2E6B-4EFA-A7C3-715D3CE70119}"/>
            </c:ext>
          </c:extLst>
        </c:ser>
        <c:dLbls>
          <c:showLegendKey val="0"/>
          <c:showVal val="0"/>
          <c:showCatName val="0"/>
          <c:showSerName val="0"/>
          <c:showPercent val="0"/>
          <c:showBubbleSize val="0"/>
        </c:dLbls>
        <c:axId val="634823584"/>
        <c:axId val="634826864"/>
      </c:scatterChart>
      <c:valAx>
        <c:axId val="634823584"/>
        <c:scaling>
          <c:orientation val="minMax"/>
          <c:max val="15"/>
          <c:min val="0"/>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600" b="0" i="0" u="none" strike="noStrike" kern="1200" baseline="0">
                <a:solidFill>
                  <a:schemeClr val="accent6"/>
                </a:solidFill>
                <a:latin typeface="+mn-lt"/>
                <a:ea typeface="+mn-ea"/>
                <a:cs typeface="+mn-cs"/>
              </a:defRPr>
            </a:pPr>
            <a:endParaRPr lang="en-US"/>
          </a:p>
        </c:txPr>
        <c:crossAx val="634826864"/>
        <c:crosses val="autoZero"/>
        <c:crossBetween val="midCat"/>
        <c:majorUnit val="5"/>
      </c:valAx>
      <c:valAx>
        <c:axId val="634826864"/>
        <c:scaling>
          <c:orientation val="minMax"/>
          <c:max val="1"/>
        </c:scaling>
        <c:delete val="0"/>
        <c:axPos val="l"/>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700" b="0" i="0" u="none" strike="noStrike" kern="1200" baseline="0">
                <a:solidFill>
                  <a:schemeClr val="accent6"/>
                </a:solidFill>
                <a:latin typeface="+mn-lt"/>
                <a:ea typeface="+mn-ea"/>
                <a:cs typeface="+mn-cs"/>
              </a:defRPr>
            </a:pPr>
            <a:endParaRPr lang="en-US"/>
          </a:p>
        </c:txPr>
        <c:crossAx val="634823584"/>
        <c:crosses val="autoZero"/>
        <c:crossBetween val="midCat"/>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5"/>
            <c:spPr>
              <a:noFill/>
              <a:ln w="9525">
                <a:noFill/>
              </a:ln>
              <a:effectLst/>
            </c:spPr>
          </c:marker>
          <c:xVal>
            <c:numRef>
              <c:f>Sheet1!$A$2:$A$4</c:f>
              <c:numCache>
                <c:formatCode>General</c:formatCode>
                <c:ptCount val="3"/>
                <c:pt idx="0">
                  <c:v>1</c:v>
                </c:pt>
                <c:pt idx="1">
                  <c:v>1</c:v>
                </c:pt>
                <c:pt idx="2">
                  <c:v>1</c:v>
                </c:pt>
              </c:numCache>
            </c:numRef>
          </c:xVal>
          <c:yVal>
            <c:numRef>
              <c:f>Sheet1!$B$2:$B$4</c:f>
              <c:numCache>
                <c:formatCode>General</c:formatCode>
                <c:ptCount val="3"/>
                <c:pt idx="0">
                  <c:v>1</c:v>
                </c:pt>
                <c:pt idx="1">
                  <c:v>1</c:v>
                </c:pt>
                <c:pt idx="2">
                  <c:v>1</c:v>
                </c:pt>
              </c:numCache>
            </c:numRef>
          </c:yVal>
          <c:smooth val="0"/>
          <c:extLst>
            <c:ext xmlns:c16="http://schemas.microsoft.com/office/drawing/2014/chart" uri="{C3380CC4-5D6E-409C-BE32-E72D297353CC}">
              <c16:uniqueId val="{00000000-D9C3-419F-9CC0-47DDE3F37D0A}"/>
            </c:ext>
          </c:extLst>
        </c:ser>
        <c:dLbls>
          <c:showLegendKey val="0"/>
          <c:showVal val="0"/>
          <c:showCatName val="0"/>
          <c:showSerName val="0"/>
          <c:showPercent val="0"/>
          <c:showBubbleSize val="0"/>
        </c:dLbls>
        <c:axId val="634823584"/>
        <c:axId val="634826864"/>
      </c:scatterChart>
      <c:valAx>
        <c:axId val="634823584"/>
        <c:scaling>
          <c:orientation val="minMax"/>
          <c:max val="20"/>
          <c:min val="0"/>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600" b="0" i="0" u="none" strike="noStrike" kern="1200" baseline="0">
                <a:solidFill>
                  <a:schemeClr val="accent6"/>
                </a:solidFill>
                <a:latin typeface="+mn-lt"/>
                <a:ea typeface="+mn-ea"/>
                <a:cs typeface="+mn-cs"/>
              </a:defRPr>
            </a:pPr>
            <a:endParaRPr lang="en-US"/>
          </a:p>
        </c:txPr>
        <c:crossAx val="634826864"/>
        <c:crosses val="autoZero"/>
        <c:crossBetween val="midCat"/>
        <c:majorUnit val="5"/>
      </c:valAx>
      <c:valAx>
        <c:axId val="634826864"/>
        <c:scaling>
          <c:orientation val="minMax"/>
          <c:max val="1"/>
        </c:scaling>
        <c:delete val="1"/>
        <c:axPos val="l"/>
        <c:numFmt formatCode="General" sourceLinked="1"/>
        <c:majorTickMark val="out"/>
        <c:minorTickMark val="none"/>
        <c:tickLblPos val="nextTo"/>
        <c:crossAx val="634823584"/>
        <c:crosses val="autoZero"/>
        <c:crossBetween val="midCat"/>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5"/>
            <c:spPr>
              <a:noFill/>
              <a:ln w="9525">
                <a:noFill/>
              </a:ln>
              <a:effectLst/>
            </c:spPr>
          </c:marker>
          <c:xVal>
            <c:numRef>
              <c:f>Sheet1!$A$2:$A$4</c:f>
              <c:numCache>
                <c:formatCode>General</c:formatCode>
                <c:ptCount val="3"/>
                <c:pt idx="0">
                  <c:v>1</c:v>
                </c:pt>
                <c:pt idx="1">
                  <c:v>1</c:v>
                </c:pt>
                <c:pt idx="2">
                  <c:v>1</c:v>
                </c:pt>
              </c:numCache>
            </c:numRef>
          </c:xVal>
          <c:yVal>
            <c:numRef>
              <c:f>Sheet1!$B$2:$B$4</c:f>
              <c:numCache>
                <c:formatCode>General</c:formatCode>
                <c:ptCount val="3"/>
                <c:pt idx="0">
                  <c:v>1</c:v>
                </c:pt>
                <c:pt idx="1">
                  <c:v>1</c:v>
                </c:pt>
                <c:pt idx="2">
                  <c:v>1</c:v>
                </c:pt>
              </c:numCache>
            </c:numRef>
          </c:yVal>
          <c:smooth val="0"/>
          <c:extLst>
            <c:ext xmlns:c16="http://schemas.microsoft.com/office/drawing/2014/chart" uri="{C3380CC4-5D6E-409C-BE32-E72D297353CC}">
              <c16:uniqueId val="{00000000-D367-43A0-9833-0E82D3C6A24F}"/>
            </c:ext>
          </c:extLst>
        </c:ser>
        <c:dLbls>
          <c:showLegendKey val="0"/>
          <c:showVal val="0"/>
          <c:showCatName val="0"/>
          <c:showSerName val="0"/>
          <c:showPercent val="0"/>
          <c:showBubbleSize val="0"/>
        </c:dLbls>
        <c:axId val="634823584"/>
        <c:axId val="634826864"/>
      </c:scatterChart>
      <c:valAx>
        <c:axId val="634823584"/>
        <c:scaling>
          <c:orientation val="minMax"/>
          <c:max val="20"/>
          <c:min val="0"/>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600" b="0" i="0" u="none" strike="noStrike" kern="1200" baseline="0">
                <a:solidFill>
                  <a:schemeClr val="accent6"/>
                </a:solidFill>
                <a:latin typeface="+mn-lt"/>
                <a:ea typeface="+mn-ea"/>
                <a:cs typeface="+mn-cs"/>
              </a:defRPr>
            </a:pPr>
            <a:endParaRPr lang="en-US"/>
          </a:p>
        </c:txPr>
        <c:crossAx val="634826864"/>
        <c:crosses val="autoZero"/>
        <c:crossBetween val="midCat"/>
        <c:majorUnit val="5"/>
      </c:valAx>
      <c:valAx>
        <c:axId val="634826864"/>
        <c:scaling>
          <c:orientation val="minMax"/>
          <c:max val="1"/>
        </c:scaling>
        <c:delete val="0"/>
        <c:axPos val="l"/>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700" b="0" i="0" u="none" strike="noStrike" kern="1200" baseline="0">
                <a:solidFill>
                  <a:schemeClr val="accent6"/>
                </a:solidFill>
                <a:latin typeface="+mn-lt"/>
                <a:ea typeface="+mn-ea"/>
                <a:cs typeface="+mn-cs"/>
              </a:defRPr>
            </a:pPr>
            <a:endParaRPr lang="en-US"/>
          </a:p>
        </c:txPr>
        <c:crossAx val="634823584"/>
        <c:crosses val="autoZero"/>
        <c:crossBetween val="midCat"/>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5"/>
            <c:spPr>
              <a:noFill/>
              <a:ln w="9525">
                <a:noFill/>
              </a:ln>
              <a:effectLst/>
            </c:spPr>
          </c:marker>
          <c:xVal>
            <c:numRef>
              <c:f>Sheet1!$A$2:$A$4</c:f>
              <c:numCache>
                <c:formatCode>General</c:formatCode>
                <c:ptCount val="3"/>
                <c:pt idx="0">
                  <c:v>1</c:v>
                </c:pt>
                <c:pt idx="1">
                  <c:v>1</c:v>
                </c:pt>
                <c:pt idx="2">
                  <c:v>1</c:v>
                </c:pt>
              </c:numCache>
            </c:numRef>
          </c:xVal>
          <c:yVal>
            <c:numRef>
              <c:f>Sheet1!$B$2:$B$4</c:f>
              <c:numCache>
                <c:formatCode>General</c:formatCode>
                <c:ptCount val="3"/>
                <c:pt idx="0">
                  <c:v>1</c:v>
                </c:pt>
                <c:pt idx="1">
                  <c:v>1</c:v>
                </c:pt>
                <c:pt idx="2">
                  <c:v>1</c:v>
                </c:pt>
              </c:numCache>
            </c:numRef>
          </c:yVal>
          <c:smooth val="0"/>
          <c:extLst>
            <c:ext xmlns:c16="http://schemas.microsoft.com/office/drawing/2014/chart" uri="{C3380CC4-5D6E-409C-BE32-E72D297353CC}">
              <c16:uniqueId val="{00000000-5432-4570-A9B1-DE6012FB21E7}"/>
            </c:ext>
          </c:extLst>
        </c:ser>
        <c:dLbls>
          <c:showLegendKey val="0"/>
          <c:showVal val="0"/>
          <c:showCatName val="0"/>
          <c:showSerName val="0"/>
          <c:showPercent val="0"/>
          <c:showBubbleSize val="0"/>
        </c:dLbls>
        <c:axId val="634823584"/>
        <c:axId val="634826864"/>
      </c:scatterChart>
      <c:valAx>
        <c:axId val="634823584"/>
        <c:scaling>
          <c:orientation val="minMax"/>
          <c:max val="20"/>
          <c:min val="0"/>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600" b="0" i="0" u="none" strike="noStrike" kern="1200" baseline="0">
                <a:solidFill>
                  <a:schemeClr val="accent6"/>
                </a:solidFill>
                <a:latin typeface="+mn-lt"/>
                <a:ea typeface="+mn-ea"/>
                <a:cs typeface="+mn-cs"/>
              </a:defRPr>
            </a:pPr>
            <a:endParaRPr lang="en-US"/>
          </a:p>
        </c:txPr>
        <c:crossAx val="634826864"/>
        <c:crosses val="autoZero"/>
        <c:crossBetween val="midCat"/>
        <c:majorUnit val="5"/>
      </c:valAx>
      <c:valAx>
        <c:axId val="634826864"/>
        <c:scaling>
          <c:orientation val="minMax"/>
          <c:max val="1"/>
        </c:scaling>
        <c:delete val="1"/>
        <c:axPos val="l"/>
        <c:numFmt formatCode="General" sourceLinked="1"/>
        <c:majorTickMark val="out"/>
        <c:minorTickMark val="none"/>
        <c:tickLblPos val="nextTo"/>
        <c:crossAx val="634823584"/>
        <c:crosses val="autoZero"/>
        <c:crossBetween val="midCat"/>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0724544005024623E-2"/>
          <c:y val="0.11958140857483442"/>
          <c:w val="0.89187380047994991"/>
          <c:h val="0.77821634756320712"/>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5"/>
            <c:spPr>
              <a:noFill/>
              <a:ln w="9525">
                <a:noFill/>
              </a:ln>
              <a:effectLst/>
            </c:spPr>
          </c:marker>
          <c:xVal>
            <c:numRef>
              <c:f>Sheet1!$A$2:$A$4</c:f>
              <c:numCache>
                <c:formatCode>General</c:formatCode>
                <c:ptCount val="3"/>
                <c:pt idx="0">
                  <c:v>1</c:v>
                </c:pt>
                <c:pt idx="1">
                  <c:v>1</c:v>
                </c:pt>
                <c:pt idx="2">
                  <c:v>1</c:v>
                </c:pt>
              </c:numCache>
            </c:numRef>
          </c:xVal>
          <c:yVal>
            <c:numRef>
              <c:f>Sheet1!$B$2:$B$4</c:f>
              <c:numCache>
                <c:formatCode>General</c:formatCode>
                <c:ptCount val="3"/>
                <c:pt idx="0">
                  <c:v>1</c:v>
                </c:pt>
                <c:pt idx="1">
                  <c:v>1</c:v>
                </c:pt>
                <c:pt idx="2">
                  <c:v>1</c:v>
                </c:pt>
              </c:numCache>
            </c:numRef>
          </c:yVal>
          <c:smooth val="0"/>
          <c:extLst>
            <c:ext xmlns:c16="http://schemas.microsoft.com/office/drawing/2014/chart" uri="{C3380CC4-5D6E-409C-BE32-E72D297353CC}">
              <c16:uniqueId val="{00000000-9E1D-4D77-9C98-C8896D94EDC9}"/>
            </c:ext>
          </c:extLst>
        </c:ser>
        <c:dLbls>
          <c:showLegendKey val="0"/>
          <c:showVal val="0"/>
          <c:showCatName val="0"/>
          <c:showSerName val="0"/>
          <c:showPercent val="0"/>
          <c:showBubbleSize val="0"/>
        </c:dLbls>
        <c:axId val="634823584"/>
        <c:axId val="634826864"/>
      </c:scatterChart>
      <c:valAx>
        <c:axId val="634823584"/>
        <c:scaling>
          <c:orientation val="minMax"/>
          <c:max val="15"/>
          <c:min val="0"/>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600" b="0" i="0" u="none" strike="noStrike" kern="1200" baseline="0">
                <a:solidFill>
                  <a:schemeClr val="accent6"/>
                </a:solidFill>
                <a:latin typeface="+mn-lt"/>
                <a:ea typeface="+mn-ea"/>
                <a:cs typeface="+mn-cs"/>
              </a:defRPr>
            </a:pPr>
            <a:endParaRPr lang="en-US"/>
          </a:p>
        </c:txPr>
        <c:crossAx val="634826864"/>
        <c:crosses val="autoZero"/>
        <c:crossBetween val="midCat"/>
        <c:majorUnit val="5"/>
      </c:valAx>
      <c:valAx>
        <c:axId val="634826864"/>
        <c:scaling>
          <c:orientation val="minMax"/>
          <c:max val="1"/>
        </c:scaling>
        <c:delete val="1"/>
        <c:axPos val="l"/>
        <c:numFmt formatCode="General" sourceLinked="1"/>
        <c:majorTickMark val="out"/>
        <c:minorTickMark val="none"/>
        <c:tickLblPos val="nextTo"/>
        <c:crossAx val="634823584"/>
        <c:crosses val="autoZero"/>
        <c:crossBetween val="midCat"/>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5"/>
            <c:spPr>
              <a:noFill/>
              <a:ln w="9525">
                <a:noFill/>
              </a:ln>
              <a:effectLst/>
            </c:spPr>
          </c:marker>
          <c:xVal>
            <c:numRef>
              <c:f>Sheet1!$A$2:$A$4</c:f>
              <c:numCache>
                <c:formatCode>General</c:formatCode>
                <c:ptCount val="3"/>
                <c:pt idx="0">
                  <c:v>1</c:v>
                </c:pt>
                <c:pt idx="1">
                  <c:v>1</c:v>
                </c:pt>
                <c:pt idx="2">
                  <c:v>1</c:v>
                </c:pt>
              </c:numCache>
            </c:numRef>
          </c:xVal>
          <c:yVal>
            <c:numRef>
              <c:f>Sheet1!$B$2:$B$4</c:f>
              <c:numCache>
                <c:formatCode>General</c:formatCode>
                <c:ptCount val="3"/>
                <c:pt idx="0">
                  <c:v>1</c:v>
                </c:pt>
                <c:pt idx="1">
                  <c:v>1</c:v>
                </c:pt>
                <c:pt idx="2">
                  <c:v>1</c:v>
                </c:pt>
              </c:numCache>
            </c:numRef>
          </c:yVal>
          <c:smooth val="0"/>
          <c:extLst>
            <c:ext xmlns:c16="http://schemas.microsoft.com/office/drawing/2014/chart" uri="{C3380CC4-5D6E-409C-BE32-E72D297353CC}">
              <c16:uniqueId val="{00000000-98B3-421F-86D1-8FEFC135D2EF}"/>
            </c:ext>
          </c:extLst>
        </c:ser>
        <c:dLbls>
          <c:showLegendKey val="0"/>
          <c:showVal val="0"/>
          <c:showCatName val="0"/>
          <c:showSerName val="0"/>
          <c:showPercent val="0"/>
          <c:showBubbleSize val="0"/>
        </c:dLbls>
        <c:axId val="634823584"/>
        <c:axId val="634826864"/>
      </c:scatterChart>
      <c:valAx>
        <c:axId val="634823584"/>
        <c:scaling>
          <c:orientation val="minMax"/>
          <c:max val="20"/>
          <c:min val="0"/>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600" b="0" i="0" u="none" strike="noStrike" kern="1200" baseline="0">
                <a:solidFill>
                  <a:schemeClr val="accent6"/>
                </a:solidFill>
                <a:latin typeface="+mn-lt"/>
                <a:ea typeface="+mn-ea"/>
                <a:cs typeface="+mn-cs"/>
              </a:defRPr>
            </a:pPr>
            <a:endParaRPr lang="en-US"/>
          </a:p>
        </c:txPr>
        <c:crossAx val="634826864"/>
        <c:crosses val="autoZero"/>
        <c:crossBetween val="midCat"/>
        <c:majorUnit val="5"/>
      </c:valAx>
      <c:valAx>
        <c:axId val="634826864"/>
        <c:scaling>
          <c:orientation val="minMax"/>
          <c:max val="1"/>
        </c:scaling>
        <c:delete val="0"/>
        <c:axPos val="l"/>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700" b="0" i="0" u="none" strike="noStrike" kern="1200" baseline="0">
                <a:solidFill>
                  <a:schemeClr val="accent6"/>
                </a:solidFill>
                <a:latin typeface="+mn-lt"/>
                <a:ea typeface="+mn-ea"/>
                <a:cs typeface="+mn-cs"/>
              </a:defRPr>
            </a:pPr>
            <a:endParaRPr lang="en-US"/>
          </a:p>
        </c:txPr>
        <c:crossAx val="634823584"/>
        <c:crosses val="autoZero"/>
        <c:crossBetween val="midCat"/>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0724544005024623E-2"/>
          <c:y val="0.11958140857483442"/>
          <c:w val="0.89187380047994991"/>
          <c:h val="0.77821634756320712"/>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5"/>
            <c:spPr>
              <a:noFill/>
              <a:ln w="9525">
                <a:noFill/>
              </a:ln>
              <a:effectLst/>
            </c:spPr>
          </c:marker>
          <c:xVal>
            <c:numRef>
              <c:f>Sheet1!$A$2:$A$4</c:f>
              <c:numCache>
                <c:formatCode>General</c:formatCode>
                <c:ptCount val="3"/>
                <c:pt idx="0">
                  <c:v>1</c:v>
                </c:pt>
                <c:pt idx="1">
                  <c:v>1</c:v>
                </c:pt>
                <c:pt idx="2">
                  <c:v>1</c:v>
                </c:pt>
              </c:numCache>
            </c:numRef>
          </c:xVal>
          <c:yVal>
            <c:numRef>
              <c:f>Sheet1!$B$2:$B$4</c:f>
              <c:numCache>
                <c:formatCode>General</c:formatCode>
                <c:ptCount val="3"/>
                <c:pt idx="0">
                  <c:v>1</c:v>
                </c:pt>
                <c:pt idx="1">
                  <c:v>1</c:v>
                </c:pt>
                <c:pt idx="2">
                  <c:v>1</c:v>
                </c:pt>
              </c:numCache>
            </c:numRef>
          </c:yVal>
          <c:smooth val="0"/>
          <c:extLst>
            <c:ext xmlns:c16="http://schemas.microsoft.com/office/drawing/2014/chart" uri="{C3380CC4-5D6E-409C-BE32-E72D297353CC}">
              <c16:uniqueId val="{00000000-3E8A-4238-BC95-280CE1D83561}"/>
            </c:ext>
          </c:extLst>
        </c:ser>
        <c:dLbls>
          <c:showLegendKey val="0"/>
          <c:showVal val="0"/>
          <c:showCatName val="0"/>
          <c:showSerName val="0"/>
          <c:showPercent val="0"/>
          <c:showBubbleSize val="0"/>
        </c:dLbls>
        <c:axId val="634823584"/>
        <c:axId val="634826864"/>
      </c:scatterChart>
      <c:valAx>
        <c:axId val="634823584"/>
        <c:scaling>
          <c:orientation val="minMax"/>
          <c:max val="20"/>
          <c:min val="0"/>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600" b="0" i="0" u="none" strike="noStrike" kern="1200" baseline="0">
                <a:solidFill>
                  <a:schemeClr val="accent6"/>
                </a:solidFill>
                <a:latin typeface="+mn-lt"/>
                <a:ea typeface="+mn-ea"/>
                <a:cs typeface="+mn-cs"/>
              </a:defRPr>
            </a:pPr>
            <a:endParaRPr lang="en-US"/>
          </a:p>
        </c:txPr>
        <c:crossAx val="634826864"/>
        <c:crosses val="autoZero"/>
        <c:crossBetween val="midCat"/>
        <c:majorUnit val="5"/>
      </c:valAx>
      <c:valAx>
        <c:axId val="634826864"/>
        <c:scaling>
          <c:orientation val="minMax"/>
          <c:max val="1"/>
        </c:scaling>
        <c:delete val="1"/>
        <c:axPos val="l"/>
        <c:numFmt formatCode="General" sourceLinked="1"/>
        <c:majorTickMark val="out"/>
        <c:minorTickMark val="none"/>
        <c:tickLblPos val="nextTo"/>
        <c:crossAx val="634823584"/>
        <c:crosses val="autoZero"/>
        <c:crossBetween val="midCat"/>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5"/>
            <c:spPr>
              <a:noFill/>
              <a:ln w="9525">
                <a:noFill/>
              </a:ln>
              <a:effectLst/>
            </c:spPr>
          </c:marker>
          <c:xVal>
            <c:numRef>
              <c:f>Sheet1!$A$2:$A$4</c:f>
              <c:numCache>
                <c:formatCode>General</c:formatCode>
                <c:ptCount val="3"/>
                <c:pt idx="0">
                  <c:v>1</c:v>
                </c:pt>
                <c:pt idx="1">
                  <c:v>1</c:v>
                </c:pt>
                <c:pt idx="2">
                  <c:v>1</c:v>
                </c:pt>
              </c:numCache>
            </c:numRef>
          </c:xVal>
          <c:yVal>
            <c:numRef>
              <c:f>Sheet1!$B$2:$B$4</c:f>
              <c:numCache>
                <c:formatCode>General</c:formatCode>
                <c:ptCount val="3"/>
                <c:pt idx="0">
                  <c:v>1</c:v>
                </c:pt>
                <c:pt idx="1">
                  <c:v>1</c:v>
                </c:pt>
                <c:pt idx="2">
                  <c:v>1</c:v>
                </c:pt>
              </c:numCache>
            </c:numRef>
          </c:yVal>
          <c:smooth val="0"/>
          <c:extLst>
            <c:ext xmlns:c16="http://schemas.microsoft.com/office/drawing/2014/chart" uri="{C3380CC4-5D6E-409C-BE32-E72D297353CC}">
              <c16:uniqueId val="{00000000-750B-474C-942B-D69138CD61F0}"/>
            </c:ext>
          </c:extLst>
        </c:ser>
        <c:dLbls>
          <c:showLegendKey val="0"/>
          <c:showVal val="0"/>
          <c:showCatName val="0"/>
          <c:showSerName val="0"/>
          <c:showPercent val="0"/>
          <c:showBubbleSize val="0"/>
        </c:dLbls>
        <c:axId val="634823584"/>
        <c:axId val="634826864"/>
      </c:scatterChart>
      <c:valAx>
        <c:axId val="634823584"/>
        <c:scaling>
          <c:orientation val="minMax"/>
          <c:max val="15"/>
          <c:min val="0"/>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600" b="0" i="0" u="none" strike="noStrike" kern="1200" baseline="0">
                <a:solidFill>
                  <a:schemeClr val="accent6"/>
                </a:solidFill>
                <a:latin typeface="+mn-lt"/>
                <a:ea typeface="+mn-ea"/>
                <a:cs typeface="+mn-cs"/>
              </a:defRPr>
            </a:pPr>
            <a:endParaRPr lang="en-US"/>
          </a:p>
        </c:txPr>
        <c:crossAx val="634826864"/>
        <c:crosses val="autoZero"/>
        <c:crossBetween val="midCat"/>
        <c:majorUnit val="5"/>
      </c:valAx>
      <c:valAx>
        <c:axId val="634826864"/>
        <c:scaling>
          <c:orientation val="minMax"/>
          <c:max val="1"/>
        </c:scaling>
        <c:delete val="0"/>
        <c:axPos val="l"/>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700" b="0" i="0" u="none" strike="noStrike" kern="1200" baseline="0">
                <a:solidFill>
                  <a:schemeClr val="accent6"/>
                </a:solidFill>
                <a:latin typeface="+mn-lt"/>
                <a:ea typeface="+mn-ea"/>
                <a:cs typeface="+mn-cs"/>
              </a:defRPr>
            </a:pPr>
            <a:endParaRPr lang="en-US"/>
          </a:p>
        </c:txPr>
        <c:crossAx val="634823584"/>
        <c:crosses val="autoZero"/>
        <c:crossBetween val="midCat"/>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5"/>
            <c:spPr>
              <a:noFill/>
              <a:ln w="9525">
                <a:noFill/>
              </a:ln>
              <a:effectLst/>
            </c:spPr>
          </c:marker>
          <c:xVal>
            <c:numRef>
              <c:f>Sheet1!$A$2:$A$4</c:f>
              <c:numCache>
                <c:formatCode>General</c:formatCode>
                <c:ptCount val="3"/>
                <c:pt idx="0">
                  <c:v>1</c:v>
                </c:pt>
                <c:pt idx="1">
                  <c:v>1</c:v>
                </c:pt>
                <c:pt idx="2">
                  <c:v>1</c:v>
                </c:pt>
              </c:numCache>
            </c:numRef>
          </c:xVal>
          <c:yVal>
            <c:numRef>
              <c:f>Sheet1!$B$2:$B$4</c:f>
              <c:numCache>
                <c:formatCode>General</c:formatCode>
                <c:ptCount val="3"/>
                <c:pt idx="0">
                  <c:v>1</c:v>
                </c:pt>
                <c:pt idx="1">
                  <c:v>1</c:v>
                </c:pt>
                <c:pt idx="2">
                  <c:v>1</c:v>
                </c:pt>
              </c:numCache>
            </c:numRef>
          </c:yVal>
          <c:smooth val="0"/>
          <c:extLst>
            <c:ext xmlns:c16="http://schemas.microsoft.com/office/drawing/2014/chart" uri="{C3380CC4-5D6E-409C-BE32-E72D297353CC}">
              <c16:uniqueId val="{00000000-CC78-42A3-A5DC-CB00CF66F1F1}"/>
            </c:ext>
          </c:extLst>
        </c:ser>
        <c:dLbls>
          <c:showLegendKey val="0"/>
          <c:showVal val="0"/>
          <c:showCatName val="0"/>
          <c:showSerName val="0"/>
          <c:showPercent val="0"/>
          <c:showBubbleSize val="0"/>
        </c:dLbls>
        <c:axId val="634823584"/>
        <c:axId val="634826864"/>
      </c:scatterChart>
      <c:valAx>
        <c:axId val="634823584"/>
        <c:scaling>
          <c:orientation val="minMax"/>
          <c:max val="15"/>
          <c:min val="0"/>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600" b="0" i="0" u="none" strike="noStrike" kern="1200" baseline="0">
                <a:solidFill>
                  <a:schemeClr val="accent6"/>
                </a:solidFill>
                <a:latin typeface="+mn-lt"/>
                <a:ea typeface="+mn-ea"/>
                <a:cs typeface="+mn-cs"/>
              </a:defRPr>
            </a:pPr>
            <a:endParaRPr lang="en-US"/>
          </a:p>
        </c:txPr>
        <c:crossAx val="634826864"/>
        <c:crosses val="autoZero"/>
        <c:crossBetween val="midCat"/>
        <c:majorUnit val="5"/>
      </c:valAx>
      <c:valAx>
        <c:axId val="634826864"/>
        <c:scaling>
          <c:orientation val="minMax"/>
          <c:max val="1"/>
        </c:scaling>
        <c:delete val="1"/>
        <c:axPos val="l"/>
        <c:numFmt formatCode="General" sourceLinked="1"/>
        <c:majorTickMark val="none"/>
        <c:minorTickMark val="none"/>
        <c:tickLblPos val="nextTo"/>
        <c:crossAx val="634823584"/>
        <c:crosses val="autoZero"/>
        <c:crossBetween val="midCat"/>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5"/>
            <c:spPr>
              <a:noFill/>
              <a:ln w="9525">
                <a:noFill/>
              </a:ln>
              <a:effectLst/>
            </c:spPr>
          </c:marker>
          <c:xVal>
            <c:numRef>
              <c:f>Sheet1!$A$2:$A$4</c:f>
              <c:numCache>
                <c:formatCode>General</c:formatCode>
                <c:ptCount val="3"/>
                <c:pt idx="0">
                  <c:v>1</c:v>
                </c:pt>
                <c:pt idx="1">
                  <c:v>1</c:v>
                </c:pt>
                <c:pt idx="2">
                  <c:v>1</c:v>
                </c:pt>
              </c:numCache>
            </c:numRef>
          </c:xVal>
          <c:yVal>
            <c:numRef>
              <c:f>Sheet1!$B$2:$B$4</c:f>
              <c:numCache>
                <c:formatCode>General</c:formatCode>
                <c:ptCount val="3"/>
                <c:pt idx="0">
                  <c:v>1</c:v>
                </c:pt>
                <c:pt idx="1">
                  <c:v>1</c:v>
                </c:pt>
                <c:pt idx="2">
                  <c:v>1</c:v>
                </c:pt>
              </c:numCache>
            </c:numRef>
          </c:yVal>
          <c:smooth val="0"/>
          <c:extLst>
            <c:ext xmlns:c16="http://schemas.microsoft.com/office/drawing/2014/chart" uri="{C3380CC4-5D6E-409C-BE32-E72D297353CC}">
              <c16:uniqueId val="{00000000-8169-4417-ADDB-22BB273989C0}"/>
            </c:ext>
          </c:extLst>
        </c:ser>
        <c:dLbls>
          <c:showLegendKey val="0"/>
          <c:showVal val="0"/>
          <c:showCatName val="0"/>
          <c:showSerName val="0"/>
          <c:showPercent val="0"/>
          <c:showBubbleSize val="0"/>
        </c:dLbls>
        <c:axId val="634823584"/>
        <c:axId val="634826864"/>
      </c:scatterChart>
      <c:valAx>
        <c:axId val="634823584"/>
        <c:scaling>
          <c:orientation val="minMax"/>
          <c:max val="15"/>
          <c:min val="0"/>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600" b="0" i="0" u="none" strike="noStrike" kern="1200" baseline="0">
                <a:solidFill>
                  <a:schemeClr val="accent6"/>
                </a:solidFill>
                <a:latin typeface="+mn-lt"/>
                <a:ea typeface="+mn-ea"/>
                <a:cs typeface="+mn-cs"/>
              </a:defRPr>
            </a:pPr>
            <a:endParaRPr lang="en-US"/>
          </a:p>
        </c:txPr>
        <c:crossAx val="634826864"/>
        <c:crosses val="autoZero"/>
        <c:crossBetween val="midCat"/>
        <c:majorUnit val="5"/>
      </c:valAx>
      <c:valAx>
        <c:axId val="634826864"/>
        <c:scaling>
          <c:orientation val="minMax"/>
          <c:max val="1"/>
        </c:scaling>
        <c:delete val="0"/>
        <c:axPos val="l"/>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700" b="0" i="0" u="none" strike="noStrike" kern="1200" baseline="0">
                <a:solidFill>
                  <a:schemeClr val="accent6"/>
                </a:solidFill>
                <a:latin typeface="+mn-lt"/>
                <a:ea typeface="+mn-ea"/>
                <a:cs typeface="+mn-cs"/>
              </a:defRPr>
            </a:pPr>
            <a:endParaRPr lang="en-US"/>
          </a:p>
        </c:txPr>
        <c:crossAx val="634823584"/>
        <c:crosses val="autoZero"/>
        <c:crossBetween val="midCat"/>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5"/>
            <c:spPr>
              <a:noFill/>
              <a:ln w="9525">
                <a:noFill/>
              </a:ln>
              <a:effectLst/>
            </c:spPr>
          </c:marker>
          <c:xVal>
            <c:numRef>
              <c:f>Sheet1!$A$2:$A$4</c:f>
              <c:numCache>
                <c:formatCode>General</c:formatCode>
                <c:ptCount val="3"/>
                <c:pt idx="0">
                  <c:v>1</c:v>
                </c:pt>
                <c:pt idx="1">
                  <c:v>1</c:v>
                </c:pt>
                <c:pt idx="2">
                  <c:v>1</c:v>
                </c:pt>
              </c:numCache>
            </c:numRef>
          </c:xVal>
          <c:yVal>
            <c:numRef>
              <c:f>Sheet1!$B$2:$B$4</c:f>
              <c:numCache>
                <c:formatCode>General</c:formatCode>
                <c:ptCount val="3"/>
                <c:pt idx="0">
                  <c:v>1</c:v>
                </c:pt>
                <c:pt idx="1">
                  <c:v>1</c:v>
                </c:pt>
                <c:pt idx="2">
                  <c:v>1</c:v>
                </c:pt>
              </c:numCache>
            </c:numRef>
          </c:yVal>
          <c:smooth val="0"/>
          <c:extLst>
            <c:ext xmlns:c16="http://schemas.microsoft.com/office/drawing/2014/chart" uri="{C3380CC4-5D6E-409C-BE32-E72D297353CC}">
              <c16:uniqueId val="{00000000-03CC-4FC1-9266-C80B9A60F16C}"/>
            </c:ext>
          </c:extLst>
        </c:ser>
        <c:dLbls>
          <c:showLegendKey val="0"/>
          <c:showVal val="0"/>
          <c:showCatName val="0"/>
          <c:showSerName val="0"/>
          <c:showPercent val="0"/>
          <c:showBubbleSize val="0"/>
        </c:dLbls>
        <c:axId val="634823584"/>
        <c:axId val="634826864"/>
      </c:scatterChart>
      <c:valAx>
        <c:axId val="634823584"/>
        <c:scaling>
          <c:orientation val="minMax"/>
          <c:max val="15"/>
          <c:min val="0"/>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600" b="0" i="0" u="none" strike="noStrike" kern="1200" baseline="0">
                <a:solidFill>
                  <a:schemeClr val="accent6"/>
                </a:solidFill>
                <a:latin typeface="+mn-lt"/>
                <a:ea typeface="+mn-ea"/>
                <a:cs typeface="+mn-cs"/>
              </a:defRPr>
            </a:pPr>
            <a:endParaRPr lang="en-US"/>
          </a:p>
        </c:txPr>
        <c:crossAx val="634826864"/>
        <c:crosses val="autoZero"/>
        <c:crossBetween val="midCat"/>
        <c:majorUnit val="5"/>
      </c:valAx>
      <c:valAx>
        <c:axId val="634826864"/>
        <c:scaling>
          <c:orientation val="minMax"/>
          <c:max val="1"/>
        </c:scaling>
        <c:delete val="1"/>
        <c:axPos val="l"/>
        <c:numFmt formatCode="General" sourceLinked="1"/>
        <c:majorTickMark val="none"/>
        <c:minorTickMark val="none"/>
        <c:tickLblPos val="nextTo"/>
        <c:crossAx val="634823584"/>
        <c:crosses val="autoZero"/>
        <c:crossBetween val="midCat"/>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5"/>
            <c:spPr>
              <a:noFill/>
              <a:ln w="9525">
                <a:noFill/>
              </a:ln>
              <a:effectLst/>
            </c:spPr>
          </c:marker>
          <c:xVal>
            <c:numRef>
              <c:f>Sheet1!$A$2:$A$4</c:f>
              <c:numCache>
                <c:formatCode>General</c:formatCode>
                <c:ptCount val="3"/>
                <c:pt idx="0">
                  <c:v>1</c:v>
                </c:pt>
                <c:pt idx="1">
                  <c:v>1</c:v>
                </c:pt>
                <c:pt idx="2">
                  <c:v>1</c:v>
                </c:pt>
              </c:numCache>
            </c:numRef>
          </c:xVal>
          <c:yVal>
            <c:numRef>
              <c:f>Sheet1!$B$2:$B$4</c:f>
              <c:numCache>
                <c:formatCode>General</c:formatCode>
                <c:ptCount val="3"/>
                <c:pt idx="0">
                  <c:v>1</c:v>
                </c:pt>
                <c:pt idx="1">
                  <c:v>1</c:v>
                </c:pt>
                <c:pt idx="2">
                  <c:v>1</c:v>
                </c:pt>
              </c:numCache>
            </c:numRef>
          </c:yVal>
          <c:smooth val="0"/>
          <c:extLst>
            <c:ext xmlns:c16="http://schemas.microsoft.com/office/drawing/2014/chart" uri="{C3380CC4-5D6E-409C-BE32-E72D297353CC}">
              <c16:uniqueId val="{00000000-6E8B-4E52-9B09-571579AF87BC}"/>
            </c:ext>
          </c:extLst>
        </c:ser>
        <c:dLbls>
          <c:showLegendKey val="0"/>
          <c:showVal val="0"/>
          <c:showCatName val="0"/>
          <c:showSerName val="0"/>
          <c:showPercent val="0"/>
          <c:showBubbleSize val="0"/>
        </c:dLbls>
        <c:axId val="634823584"/>
        <c:axId val="634826864"/>
      </c:scatterChart>
      <c:valAx>
        <c:axId val="634823584"/>
        <c:scaling>
          <c:orientation val="minMax"/>
          <c:max val="20"/>
          <c:min val="0"/>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600" b="0" i="0" u="none" strike="noStrike" kern="1200" baseline="0">
                <a:solidFill>
                  <a:schemeClr val="accent6"/>
                </a:solidFill>
                <a:latin typeface="+mn-lt"/>
                <a:ea typeface="+mn-ea"/>
                <a:cs typeface="+mn-cs"/>
              </a:defRPr>
            </a:pPr>
            <a:endParaRPr lang="en-US"/>
          </a:p>
        </c:txPr>
        <c:crossAx val="634826864"/>
        <c:crosses val="autoZero"/>
        <c:crossBetween val="midCat"/>
        <c:majorUnit val="5"/>
      </c:valAx>
      <c:valAx>
        <c:axId val="634826864"/>
        <c:scaling>
          <c:orientation val="minMax"/>
          <c:max val="1"/>
        </c:scaling>
        <c:delete val="0"/>
        <c:axPos val="l"/>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700" b="0" i="0" u="none" strike="noStrike" kern="1200" baseline="0">
                <a:solidFill>
                  <a:schemeClr val="accent6"/>
                </a:solidFill>
                <a:latin typeface="+mn-lt"/>
                <a:ea typeface="+mn-ea"/>
                <a:cs typeface="+mn-cs"/>
              </a:defRPr>
            </a:pPr>
            <a:endParaRPr lang="en-US"/>
          </a:p>
        </c:txPr>
        <c:crossAx val="634823584"/>
        <c:crosses val="autoZero"/>
        <c:crossBetween val="midCat"/>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22F28C-5435-4258-9B2E-698C43E2CDF9}" type="datetimeFigureOut">
              <a:rPr lang="en-GB" smtClean="0"/>
              <a:t>23/04/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baseline="0">
                <a:solidFill>
                  <a:schemeClr val="tx1"/>
                </a:solidFill>
                <a:latin typeface="Arial" panose="020B0604020202020204" pitchFamily="34" charset="0"/>
                <a:cs typeface="Arial" panose="020B0604020202020204" pitchFamily="34" charset="0"/>
              </a:defRPr>
            </a:lvl1pPr>
          </a:lstStyle>
          <a:p>
            <a:fld id="{BAEA8204-FE21-40EE-B623-DA36185865FF}" type="slidenum">
              <a:rPr lang="en-GB" smtClean="0"/>
              <a:pPr/>
              <a:t>‹#›</a:t>
            </a:fld>
            <a:endParaRPr lang="en-GB"/>
          </a:p>
        </p:txBody>
      </p:sp>
    </p:spTree>
    <p:extLst>
      <p:ext uri="{BB962C8B-B14F-4D97-AF65-F5344CB8AC3E}">
        <p14:creationId xmlns:p14="http://schemas.microsoft.com/office/powerpoint/2010/main" val="2813618543"/>
      </p:ext>
    </p:extLst>
  </p:cSld>
  <p:clrMap bg1="lt1" tx1="dk1" bg2="lt2" tx2="dk2" accent1="accent1" accent2="accent2" accent3="accent3" accent4="accent4" accent5="accent5" accent6="accent6" hlink="hlink" folHlink="folHlink"/>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AEA8204-FE21-40EE-B623-DA36185865FF}" type="slidenum">
              <a:rPr lang="en-GB" smtClean="0"/>
              <a:pPr/>
              <a:t>1</a:t>
            </a:fld>
            <a:endParaRPr lang="en-GB"/>
          </a:p>
        </p:txBody>
      </p:sp>
    </p:spTree>
    <p:extLst>
      <p:ext uri="{BB962C8B-B14F-4D97-AF65-F5344CB8AC3E}">
        <p14:creationId xmlns:p14="http://schemas.microsoft.com/office/powerpoint/2010/main" val="3492373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65465B-1F3E-4508-81BA-30485342AF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9212167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u="none" dirty="0"/>
          </a:p>
        </p:txBody>
      </p:sp>
      <p:sp>
        <p:nvSpPr>
          <p:cNvPr id="4" name="Slide Number Placeholder 3"/>
          <p:cNvSpPr>
            <a:spLocks noGrp="1"/>
          </p:cNvSpPr>
          <p:nvPr>
            <p:ph type="sldNum" sz="quarter" idx="5"/>
          </p:nvPr>
        </p:nvSpPr>
        <p:spPr/>
        <p:txBody>
          <a:bodyPr/>
          <a:lstStyle/>
          <a:p>
            <a:fld id="{BAEA8204-FE21-40EE-B623-DA36185865FF}" type="slidenum">
              <a:rPr lang="en-GB" smtClean="0"/>
              <a:t>3</a:t>
            </a:fld>
            <a:endParaRPr lang="en-GB"/>
          </a:p>
        </p:txBody>
      </p:sp>
    </p:spTree>
    <p:extLst>
      <p:ext uri="{BB962C8B-B14F-4D97-AF65-F5344CB8AC3E}">
        <p14:creationId xmlns:p14="http://schemas.microsoft.com/office/powerpoint/2010/main" val="124846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EA8204-FE21-40EE-B623-DA36185865FF}" type="slidenum">
              <a:rPr kumimoji="0" lang="en-GB"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229202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EA8204-FE21-40EE-B623-DA36185865FF}" type="slidenum">
              <a:rPr kumimoji="0" lang="en-GB"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16900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0"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EA8204-FE21-40EE-B623-DA36185865FF}" type="slidenum">
              <a:rPr kumimoji="0" lang="en-GB"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04900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endParaRPr lang="en-US" b="0"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EA8204-FE21-40EE-B623-DA36185865FF}" type="slidenum">
              <a:rPr kumimoji="0" lang="en-GB"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77098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0" u="none" dirty="0"/>
          </a:p>
        </p:txBody>
      </p:sp>
      <p:sp>
        <p:nvSpPr>
          <p:cNvPr id="4" name="Slide Number Placeholder 3"/>
          <p:cNvSpPr>
            <a:spLocks noGrp="1"/>
          </p:cNvSpPr>
          <p:nvPr>
            <p:ph type="sldNum" sz="quarter" idx="5"/>
          </p:nvPr>
        </p:nvSpPr>
        <p:spPr/>
        <p:txBody>
          <a:bodyPr/>
          <a:lstStyle/>
          <a:p>
            <a:fld id="{BAEA8204-FE21-40EE-B623-DA36185865FF}" type="slidenum">
              <a:rPr lang="en-GB" smtClean="0"/>
              <a:t>8</a:t>
            </a:fld>
            <a:endParaRPr lang="en-GB"/>
          </a:p>
        </p:txBody>
      </p:sp>
    </p:spTree>
    <p:extLst>
      <p:ext uri="{BB962C8B-B14F-4D97-AF65-F5344CB8AC3E}">
        <p14:creationId xmlns:p14="http://schemas.microsoft.com/office/powerpoint/2010/main" val="3995481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p:spPr>
        <p:txBody>
          <a:bodyPr anchor="b"/>
          <a:lstStyle>
            <a:lvl1pPr algn="l">
              <a:lnSpc>
                <a:spcPct val="80000"/>
              </a:lnSpc>
              <a:defRPr sz="5000" b="1" i="0" spc="0" baseline="0">
                <a:solidFill>
                  <a:schemeClr val="bg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p:spPr>
        <p:txBody>
          <a:bodyPr anchor="t">
            <a:noAutofit/>
          </a:bodyPr>
          <a:lstStyle>
            <a:lvl1pPr marL="0" indent="0" algn="l">
              <a:lnSpc>
                <a:spcPct val="110000"/>
              </a:lnSpc>
              <a:buNone/>
              <a:defRPr sz="1500" b="0" i="0" kern="800" spc="300" baseline="0">
                <a:solidFill>
                  <a:schemeClr val="bg2">
                    <a:lumMod val="20000"/>
                    <a:lumOff val="80000"/>
                  </a:schemeClr>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33279" y="637899"/>
            <a:ext cx="1793826" cy="496752"/>
          </a:xfrm>
          <a:prstGeom prst="rect">
            <a:avLst/>
          </a:prstGeom>
        </p:spPr>
      </p:pic>
    </p:spTree>
    <p:extLst>
      <p:ext uri="{BB962C8B-B14F-4D97-AF65-F5344CB8AC3E}">
        <p14:creationId xmlns:p14="http://schemas.microsoft.com/office/powerpoint/2010/main" val="3282151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ntent - Side By S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F91D0A4-F952-E844-8B2C-D3F8A2A9AD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406140" cy="4351338"/>
          </a:xfrm>
        </p:spPr>
        <p:txBody>
          <a:bodyPr anchor="ctr">
            <a:noAutofit/>
          </a:bodyPr>
          <a:lstStyle>
            <a:lvl1pPr algn="l">
              <a:lnSpc>
                <a:spcPct val="100000"/>
              </a:lnSpc>
              <a:defRPr sz="3200" b="1" i="0">
                <a:solidFill>
                  <a:schemeClr val="accent1"/>
                </a:solidFill>
                <a:latin typeface="+mn-lt"/>
                <a:cs typeface="Trebuchet MS" panose="020B0703020202090204" pitchFamily="34" charset="0"/>
              </a:defRPr>
            </a:lvl1pPr>
          </a:lstStyle>
          <a:p>
            <a:pPr lvl="0"/>
            <a:r>
              <a:rPr lang="en-US"/>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lvl1pPr>
              <a:defRPr>
                <a:latin typeface="+mn-lt"/>
              </a:defRPr>
            </a:lvl1pPr>
          </a:lstStyle>
          <a:p>
            <a:fld id="{4BEAA09E-D67E-864E-8466-C38E88600C4F}" type="slidenum">
              <a:rPr lang="en-US" smtClean="0"/>
              <a:pPr/>
              <a:t>‹#›</a:t>
            </a:fld>
            <a:endParaRPr lang="en-US"/>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4260501" y="1628503"/>
            <a:ext cx="0" cy="347472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p:spPr>
        <p:txBody>
          <a:bodyPr anchor="ctr"/>
          <a:lstStyle>
            <a:lvl1pPr>
              <a:lnSpc>
                <a:spcPct val="110000"/>
              </a:lnSpc>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606113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Comparis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n-lt"/>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5081891" cy="4351338"/>
          </a:xfrm>
        </p:spPr>
        <p:txBody>
          <a:bodyPr anchor="ctr">
            <a:normAutofit/>
          </a:bodyPr>
          <a:lstStyle>
            <a:lvl1pPr algn="l">
              <a:lnSpc>
                <a:spcPct val="80000"/>
              </a:lnSpc>
              <a:defRPr sz="3200" b="1" i="0">
                <a:solidFill>
                  <a:srgbClr val="C50F3C"/>
                </a:solidFill>
                <a:latin typeface="+mj-lt"/>
                <a:cs typeface="Trebuchet MS" panose="020B0703020202090204" pitchFamily="34" charset="0"/>
              </a:defRPr>
            </a:lvl1pPr>
          </a:lstStyle>
          <a:p>
            <a:pPr lvl="0"/>
            <a:r>
              <a:rPr lang="en-US"/>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p:spPr>
        <p:txBody>
          <a:bodyPr anchor="ctr">
            <a:normAutofit/>
          </a:bodyPr>
          <a:lstStyle>
            <a:lvl1pPr algn="l">
              <a:lnSpc>
                <a:spcPct val="80000"/>
              </a:lnSpc>
              <a:defRPr sz="3200" b="0" i="0">
                <a:solidFill>
                  <a:schemeClr val="tx1"/>
                </a:solidFill>
                <a:latin typeface="+mn-lt"/>
                <a:cs typeface="Rockwell Nova Light" panose="02060303020205020403" pitchFamily="18" charset="0"/>
              </a:defRPr>
            </a:lvl1pPr>
          </a:lstStyle>
          <a:p>
            <a:pPr lvl="0"/>
            <a:r>
              <a:rPr lang="en-US"/>
              <a:t>Edit master text styles</a:t>
            </a:r>
          </a:p>
        </p:txBody>
      </p:sp>
    </p:spTree>
    <p:extLst>
      <p:ext uri="{BB962C8B-B14F-4D97-AF65-F5344CB8AC3E}">
        <p14:creationId xmlns:p14="http://schemas.microsoft.com/office/powerpoint/2010/main" val="3727720298"/>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n-lt"/>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5081891" cy="4351338"/>
          </a:xfrm>
          <a:ln>
            <a:noFill/>
          </a:ln>
        </p:spPr>
        <p:txBody>
          <a:bodyPr anchor="ctr">
            <a:normAutofit/>
          </a:bodyPr>
          <a:lstStyle>
            <a:lvl1pPr algn="l">
              <a:lnSpc>
                <a:spcPct val="80000"/>
              </a:lnSpc>
              <a:defRPr sz="3200" b="1" i="0">
                <a:ln>
                  <a:noFill/>
                </a:ln>
                <a:solidFill>
                  <a:schemeClr val="bg1"/>
                </a:solidFill>
                <a:latin typeface="+mj-lt"/>
                <a:cs typeface="Trebuchet MS" panose="020B0703020202090204" pitchFamily="34" charset="0"/>
              </a:defRPr>
            </a:lvl1pPr>
          </a:lstStyle>
          <a:p>
            <a:pPr lvl="0"/>
            <a:r>
              <a:rPr lang="en-US"/>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p:spPr>
        <p:txBody>
          <a:bodyPr anchor="ctr">
            <a:normAutofit/>
          </a:bodyPr>
          <a:lstStyle>
            <a:lvl1pPr algn="l">
              <a:lnSpc>
                <a:spcPct val="100000"/>
              </a:lnSpc>
              <a:defRPr sz="3200" b="0" i="0" spc="0">
                <a:solidFill>
                  <a:schemeClr val="tx1"/>
                </a:solidFill>
                <a:latin typeface="+mn-lt"/>
                <a:cs typeface="Rockwell Nova Light" panose="02060303020205020403" pitchFamily="18" charset="0"/>
              </a:defRPr>
            </a:lvl1pPr>
          </a:lstStyle>
          <a:p>
            <a:pPr lvl="0"/>
            <a:r>
              <a:rPr lang="en-US"/>
              <a:t>Edit master text styles</a:t>
            </a:r>
          </a:p>
        </p:txBody>
      </p:sp>
      <p:pic>
        <p:nvPicPr>
          <p:cNvPr id="7" name="Picture 6" descr="A picture containing text&#10;&#10;Description automatically generated">
            <a:extLst>
              <a:ext uri="{FF2B5EF4-FFF2-40B4-BE49-F238E27FC236}">
                <a16:creationId xmlns:a16="http://schemas.microsoft.com/office/drawing/2014/main" id="{2C1FA6C1-AA7F-4626-B325-4C1798CB2F9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1071291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Picture Spli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6095999" y="0"/>
            <a:ext cx="6095999" cy="6858000"/>
          </a:xfrm>
        </p:spPr>
        <p:txBody>
          <a:bodyPr/>
          <a:lstStyle>
            <a:lvl1pPr>
              <a:defRPr>
                <a:latin typeface="+mn-lt"/>
              </a:defRPr>
            </a:lvl1pPr>
          </a:lstStyle>
          <a:p>
            <a:endParaRPr lang="en-US"/>
          </a:p>
        </p:txBody>
      </p:sp>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n-lt"/>
            </a:endParaRP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4" y="6400799"/>
            <a:ext cx="745915"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pic>
        <p:nvPicPr>
          <p:cNvPr id="15" name="Picture 14">
            <a:extLst>
              <a:ext uri="{FF2B5EF4-FFF2-40B4-BE49-F238E27FC236}">
                <a16:creationId xmlns:a16="http://schemas.microsoft.com/office/drawing/2014/main" id="{F8C30483-00F3-D64E-AAE5-F07B9B5C01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94406" y="6408817"/>
            <a:ext cx="206592" cy="275456"/>
          </a:xfrm>
          <a:prstGeom prst="rect">
            <a:avLst/>
          </a:prstGeom>
        </p:spPr>
      </p:pic>
      <p:sp>
        <p:nvSpPr>
          <p:cNvPr id="8" name="Content Placeholder 2">
            <a:extLst>
              <a:ext uri="{FF2B5EF4-FFF2-40B4-BE49-F238E27FC236}">
                <a16:creationId xmlns:a16="http://schemas.microsoft.com/office/drawing/2014/main" id="{A0ECE671-F431-CD4B-9BF1-7FDB1F327553}"/>
              </a:ext>
            </a:extLst>
          </p:cNvPr>
          <p:cNvSpPr>
            <a:spLocks noGrp="1"/>
          </p:cNvSpPr>
          <p:nvPr>
            <p:ph sz="half" idx="1" hasCustomPrompt="1"/>
          </p:nvPr>
        </p:nvSpPr>
        <p:spPr>
          <a:xfrm>
            <a:off x="495300" y="1189899"/>
            <a:ext cx="5081891" cy="4351338"/>
          </a:xfrm>
        </p:spPr>
        <p:txBody>
          <a:bodyPr anchor="ctr">
            <a:normAutofit/>
          </a:bodyPr>
          <a:lstStyle>
            <a:lvl1pPr algn="l">
              <a:lnSpc>
                <a:spcPct val="80000"/>
              </a:lnSpc>
              <a:defRPr sz="3200" b="1" i="0">
                <a:solidFill>
                  <a:schemeClr val="accent1"/>
                </a:solidFill>
                <a:latin typeface="+mj-lt"/>
                <a:cs typeface="Trebuchet MS" panose="020B0703020202090204" pitchFamily="34" charset="0"/>
              </a:defRPr>
            </a:lvl1pPr>
          </a:lstStyle>
          <a:p>
            <a:pPr lvl="0"/>
            <a:r>
              <a:rPr lang="en-US"/>
              <a:t>Edit master text styles</a:t>
            </a:r>
          </a:p>
        </p:txBody>
      </p:sp>
    </p:spTree>
    <p:extLst>
      <p:ext uri="{BB962C8B-B14F-4D97-AF65-F5344CB8AC3E}">
        <p14:creationId xmlns:p14="http://schemas.microsoft.com/office/powerpoint/2010/main" val="25422809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577516" y="1942677"/>
            <a:ext cx="10972800"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6297835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577516" y="1942677"/>
            <a:ext cx="5399951"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hasCustomPrompt="1"/>
          </p:nvPr>
        </p:nvSpPr>
        <p:spPr>
          <a:xfrm>
            <a:off x="6150365" y="1942677"/>
            <a:ext cx="5399951"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582964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577517" y="1942677"/>
            <a:ext cx="3516658"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hasCustomPrompt="1"/>
          </p:nvPr>
        </p:nvSpPr>
        <p:spPr>
          <a:xfrm>
            <a:off x="4305587" y="1942677"/>
            <a:ext cx="3516658"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Content Placeholder 7">
            <a:extLst>
              <a:ext uri="{FF2B5EF4-FFF2-40B4-BE49-F238E27FC236}">
                <a16:creationId xmlns:a16="http://schemas.microsoft.com/office/drawing/2014/main" id="{CC246391-91B4-BC47-A6BA-88CFDDCA116C}"/>
              </a:ext>
            </a:extLst>
          </p:cNvPr>
          <p:cNvSpPr>
            <a:spLocks noGrp="1"/>
          </p:cNvSpPr>
          <p:nvPr>
            <p:ph sz="quarter" idx="18" hasCustomPrompt="1"/>
          </p:nvPr>
        </p:nvSpPr>
        <p:spPr>
          <a:xfrm>
            <a:off x="8033658" y="1942677"/>
            <a:ext cx="3516658"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943337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Grey - Foot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30008551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 With Foot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0E1FAF-85CD-FA4B-81FE-A9FD82D22E2F}"/>
              </a:ext>
            </a:extLst>
          </p:cNvPr>
          <p:cNvSpPr>
            <a:spLocks noGrp="1"/>
          </p:cNvSpPr>
          <p:nvPr>
            <p:ph type="sldNum" sz="quarter" idx="12"/>
          </p:nvPr>
        </p:nvSpPr>
        <p:spPr/>
        <p:txBody>
          <a:bodyPr/>
          <a:lstStyle>
            <a:lvl1pPr>
              <a:defRPr>
                <a:solidFill>
                  <a:schemeClr val="tx1">
                    <a:lumMod val="40000"/>
                    <a:lumOff val="60000"/>
                  </a:schemeClr>
                </a:solidFill>
                <a:latin typeface="+mn-lt"/>
              </a:defRPr>
            </a:lvl1pPr>
          </a:lstStyle>
          <a:p>
            <a:fld id="{4BEAA09E-D67E-864E-8466-C38E88600C4F}" type="slidenum">
              <a:rPr lang="en-US" smtClean="0"/>
              <a:pPr/>
              <a:t>‹#›</a:t>
            </a:fld>
            <a:endParaRPr lang="en-US"/>
          </a:p>
        </p:txBody>
      </p:sp>
      <p:pic>
        <p:nvPicPr>
          <p:cNvPr id="5" name="Picture 4">
            <a:extLst>
              <a:ext uri="{FF2B5EF4-FFF2-40B4-BE49-F238E27FC236}">
                <a16:creationId xmlns:a16="http://schemas.microsoft.com/office/drawing/2014/main" id="{F7216341-DBB4-0D4B-B285-B706134D81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31939737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rgbClr val="C50F3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49585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p:spPr>
        <p:txBody>
          <a:bodyPr anchor="b"/>
          <a:lstStyle>
            <a:lvl1pPr algn="l">
              <a:lnSpc>
                <a:spcPct val="80000"/>
              </a:lnSpc>
              <a:defRPr sz="5000" b="1" i="0" spc="0" baseline="0">
                <a:solidFill>
                  <a:schemeClr val="bg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p:spPr>
        <p:txBody>
          <a:bodyPr anchor="t">
            <a:noAutofit/>
          </a:bodyPr>
          <a:lstStyle>
            <a:lvl1pPr marL="0" indent="0" algn="l">
              <a:lnSpc>
                <a:spcPct val="110000"/>
              </a:lnSpc>
              <a:buNone/>
              <a:defRPr sz="1500" b="0" i="0" kern="800" spc="300" baseline="0">
                <a:solidFill>
                  <a:schemeClr val="bg2">
                    <a:lumMod val="20000"/>
                    <a:lumOff val="80000"/>
                  </a:schemeClr>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33279" y="637899"/>
            <a:ext cx="1793826" cy="496752"/>
          </a:xfrm>
          <a:prstGeom prst="rect">
            <a:avLst/>
          </a:prstGeom>
        </p:spPr>
      </p:pic>
    </p:spTree>
    <p:extLst>
      <p:ext uri="{BB962C8B-B14F-4D97-AF65-F5344CB8AC3E}">
        <p14:creationId xmlns:p14="http://schemas.microsoft.com/office/powerpoint/2010/main" val="127043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0111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Background">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11896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FA910F-3277-4B3E-A9EE-D900AE3E1F55}"/>
              </a:ext>
            </a:extLst>
          </p:cNvPr>
          <p:cNvSpPr/>
          <p:nvPr>
            <p:custDataLst>
              <p:tags r:id="rId2"/>
            </p:custDataLst>
          </p:nvPr>
        </p:nvSpPr>
        <p:spPr>
          <a:xfrm>
            <a:off x="1" y="1"/>
            <a:ext cx="211667" cy="21166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doc id" hidden="1"/>
          <p:cNvSpPr>
            <a:spLocks noChangeArrowheads="1"/>
          </p:cNvSpPr>
          <p:nvPr/>
        </p:nvSpPr>
        <p:spPr bwMode="gray">
          <a:xfrm flipH="1">
            <a:off x="10658004"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marR="0" lvl="0" indent="0" algn="r" defTabSz="1217996" rtl="0" eaLnBrk="1" fontAlgn="base" latinLnBrk="0" hangingPunct="1">
              <a:lnSpc>
                <a:spcPct val="100000"/>
              </a:lnSpc>
              <a:spcBef>
                <a:spcPct val="0"/>
              </a:spcBef>
              <a:spcAft>
                <a:spcPct val="0"/>
              </a:spcAft>
              <a:buClrTx/>
              <a:buSzTx/>
              <a:buFontTx/>
              <a:buNone/>
              <a:tabLst/>
              <a:defRPr/>
            </a:pPr>
            <a:endParaRPr kumimoji="0" lang="x-none" sz="612" b="0" i="0" u="none" strike="noStrike" kern="1200" cap="none" spc="0" normalizeH="0" baseline="0" noProof="0">
              <a:ln>
                <a:noFill/>
              </a:ln>
              <a:solidFill>
                <a:srgbClr val="808080"/>
              </a:solidFill>
              <a:effectLst/>
              <a:uLnTx/>
              <a:uFillTx/>
              <a:latin typeface="Arial"/>
              <a:ea typeface="+mn-ea"/>
              <a:cs typeface="+mn-cs"/>
            </a:endParaRPr>
          </a:p>
        </p:txBody>
      </p:sp>
      <p:sp>
        <p:nvSpPr>
          <p:cNvPr id="6" name="Slide Number Placeholder 6">
            <a:extLst>
              <a:ext uri="{FF2B5EF4-FFF2-40B4-BE49-F238E27FC236}">
                <a16:creationId xmlns:a16="http://schemas.microsoft.com/office/drawing/2014/main" id="{91BA7DE7-7087-46DD-8863-8070C10A0CDE}"/>
              </a:ext>
            </a:extLst>
          </p:cNvPr>
          <p:cNvSpPr>
            <a:spLocks noGrp="1"/>
          </p:cNvSpPr>
          <p:nvPr>
            <p:ph type="sldNum" sz="quarter" idx="12"/>
          </p:nvPr>
        </p:nvSpPr>
        <p:spPr>
          <a:xfrm>
            <a:off x="211015" y="6400799"/>
            <a:ext cx="2743200" cy="291492"/>
          </a:xfrm>
        </p:spPr>
        <p:txBody>
          <a:bodyPr/>
          <a:lstStyle>
            <a:lvl1pPr>
              <a:defRPr>
                <a:solidFill>
                  <a:schemeClr val="tx1">
                    <a:lumMod val="40000"/>
                    <a:lumOff val="60000"/>
                  </a:schemeClr>
                </a:solidFill>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304114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3E83E5-2EF2-6A43-863C-E6A58A5E3C21}"/>
              </a:ext>
            </a:extLst>
          </p:cNvPr>
          <p:cNvSpPr>
            <a:spLocks noGrp="1"/>
          </p:cNvSpPr>
          <p:nvPr>
            <p:ph idx="1" hasCustomPrompt="1"/>
          </p:nvPr>
        </p:nvSpPr>
        <p:spPr>
          <a:xfrm>
            <a:off x="447615" y="2062501"/>
            <a:ext cx="11269255" cy="4114461"/>
          </a:xfrm>
        </p:spPr>
        <p:txBody>
          <a:bodyPr lIns="0" tIns="0" rIns="0" bIns="0"/>
          <a:lstStyle>
            <a:lvl1pPr>
              <a:defRPr b="0" i="0">
                <a:solidFill>
                  <a:schemeClr val="tx1"/>
                </a:solidFill>
                <a:latin typeface="+mn-lt"/>
                <a:ea typeface="Roboto Light" panose="02000000000000000000" pitchFamily="2" charset="0"/>
                <a:cs typeface="Arial" panose="020B0604020202020204" pitchFamily="34" charset="0"/>
              </a:defRPr>
            </a:lvl1pPr>
            <a:lvl2pPr marL="115888" indent="0">
              <a:buNone/>
              <a:defRPr b="0" i="1">
                <a:solidFill>
                  <a:schemeClr val="tx1"/>
                </a:solidFill>
                <a:latin typeface="+mn-lt"/>
                <a:ea typeface="Roboto Light" panose="02000000000000000000" pitchFamily="2" charset="0"/>
                <a:cs typeface="Arial" panose="020B0604020202020204" pitchFamily="34" charset="0"/>
              </a:defRPr>
            </a:lvl2pPr>
            <a:lvl3pPr>
              <a:defRPr b="0" i="0">
                <a:solidFill>
                  <a:schemeClr val="tx1"/>
                </a:solidFill>
                <a:latin typeface="+mn-lt"/>
                <a:ea typeface="Roboto Light" panose="02000000000000000000" pitchFamily="2" charset="0"/>
                <a:cs typeface="Arial" panose="020B0604020202020204" pitchFamily="34" charset="0"/>
              </a:defRPr>
            </a:lvl3pPr>
            <a:lvl4pPr>
              <a:defRPr b="0" i="0">
                <a:solidFill>
                  <a:schemeClr val="tx1"/>
                </a:solidFill>
                <a:latin typeface="+mn-lt"/>
                <a:ea typeface="Roboto Light" panose="02000000000000000000" pitchFamily="2" charset="0"/>
                <a:cs typeface="Arial" panose="020B0604020202020204" pitchFamily="34" charset="0"/>
              </a:defRPr>
            </a:lvl4pPr>
            <a:lvl5pPr>
              <a:defRPr b="0" i="0">
                <a:solidFill>
                  <a:schemeClr val="tx1"/>
                </a:solidFill>
                <a:latin typeface="+mn-lt"/>
                <a:ea typeface="Roboto Light" panose="02000000000000000000" pitchFamily="2"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69A11B6D-85FD-BA46-B0C1-FEA93902B870}"/>
              </a:ext>
            </a:extLst>
          </p:cNvPr>
          <p:cNvSpPr>
            <a:spLocks noGrp="1"/>
          </p:cNvSpPr>
          <p:nvPr>
            <p:ph type="title"/>
          </p:nvPr>
        </p:nvSpPr>
        <p:spPr>
          <a:xfrm>
            <a:off x="447615" y="1018903"/>
            <a:ext cx="11269255" cy="671785"/>
          </a:xfrm>
        </p:spPr>
        <p:txBody>
          <a:bodyPr lIns="0" tIns="0" rIns="0" bIns="0" anchor="t" anchorCtr="0"/>
          <a:lstStyle>
            <a:lvl1pPr>
              <a:defRPr b="1" i="0">
                <a:solidFill>
                  <a:schemeClr val="accent1"/>
                </a:solidFill>
                <a:latin typeface="+mj-lt"/>
                <a:ea typeface="Roboto Light" panose="02000000000000000000" pitchFamily="2" charset="0"/>
                <a:cs typeface="Arial" panose="020B0604020202020204" pitchFamily="34" charset="0"/>
              </a:defRPr>
            </a:lvl1pPr>
          </a:lstStyle>
          <a:p>
            <a:r>
              <a:rPr lang="en-US"/>
              <a:t>Click to edit Master title style</a:t>
            </a:r>
          </a:p>
        </p:txBody>
      </p:sp>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latin typeface="+mn-lt"/>
              </a:rPr>
              <a:pPr/>
              <a:t>‹#›</a:t>
            </a:fld>
            <a:endParaRPr lang="en-US">
              <a:latin typeface="+mn-lt"/>
            </a:endParaRPr>
          </a:p>
        </p:txBody>
      </p:sp>
      <p:pic>
        <p:nvPicPr>
          <p:cNvPr id="9" name="Picture 8">
            <a:extLst>
              <a:ext uri="{FF2B5EF4-FFF2-40B4-BE49-F238E27FC236}">
                <a16:creationId xmlns:a16="http://schemas.microsoft.com/office/drawing/2014/main" id="{49B283B9-5D9B-F94B-BF86-B66DD0953C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26851622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42830" y="1146412"/>
            <a:ext cx="11481363" cy="2000548"/>
          </a:xfrm>
          <a:prstGeom prst="rect">
            <a:avLst/>
          </a:prstGeom>
        </p:spPr>
        <p:txBody>
          <a:bodyPr>
            <a:spAutoFit/>
          </a:bodyPr>
          <a:lstStyle>
            <a:lvl1pPr marL="173038"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1pPr>
            <a:lvl2pPr marL="6302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2pPr>
            <a:lvl3pPr marL="922338" indent="-174625">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3pPr>
            <a:lvl4pPr marL="13795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4pPr>
            <a:lvl5pPr marL="1662113"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342831" y="202337"/>
            <a:ext cx="11481362" cy="916687"/>
          </a:xfrm>
          <a:prstGeom prst="rect">
            <a:avLst/>
          </a:prstGeom>
        </p:spPr>
        <p:txBody>
          <a:bodyPr anchor="t"/>
          <a:lstStyle>
            <a:lvl1pPr>
              <a:defRPr sz="3200" b="1">
                <a:solidFill>
                  <a:srgbClr val="26245E"/>
                </a:solidFill>
                <a:latin typeface="Trebuchet MS" panose="020B0703020202090204" pitchFamily="34" charset="0"/>
                <a:ea typeface="Trebuchet MS" panose="020B0703020202090204" pitchFamily="34" charset="0"/>
                <a:cs typeface="Arial" panose="020B0604020202020204" pitchFamily="34" charset="0"/>
              </a:defRPr>
            </a:lvl1pPr>
          </a:lstStyle>
          <a:p>
            <a:r>
              <a:rPr lang="en-US"/>
              <a:t>Click to edit Master title style</a:t>
            </a:r>
          </a:p>
        </p:txBody>
      </p:sp>
      <p:sp>
        <p:nvSpPr>
          <p:cNvPr id="7" name="Slide Number Placeholder 6">
            <a:extLst>
              <a:ext uri="{FF2B5EF4-FFF2-40B4-BE49-F238E27FC236}">
                <a16:creationId xmlns:a16="http://schemas.microsoft.com/office/drawing/2014/main" id="{40CC0D8B-04E1-834F-A50B-635F7EC9444F}"/>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latin typeface="+mn-lt"/>
              </a:rPr>
              <a:pPr/>
              <a:t>‹#›</a:t>
            </a:fld>
            <a:endParaRPr lang="en-US">
              <a:latin typeface="+mn-lt"/>
            </a:endParaRPr>
          </a:p>
        </p:txBody>
      </p:sp>
      <p:sp>
        <p:nvSpPr>
          <p:cNvPr id="13" name="Text Placeholder 3">
            <a:extLst>
              <a:ext uri="{FF2B5EF4-FFF2-40B4-BE49-F238E27FC236}">
                <a16:creationId xmlns:a16="http://schemas.microsoft.com/office/drawing/2014/main" id="{7EE233F2-FD38-114A-A5D2-B500B9F2047D}"/>
              </a:ext>
            </a:extLst>
          </p:cNvPr>
          <p:cNvSpPr>
            <a:spLocks noGrp="1"/>
          </p:cNvSpPr>
          <p:nvPr>
            <p:ph type="body" sz="quarter" idx="13"/>
          </p:nvPr>
        </p:nvSpPr>
        <p:spPr>
          <a:xfrm>
            <a:off x="568793" y="5964198"/>
            <a:ext cx="10789164" cy="704449"/>
          </a:xfrm>
          <a:prstGeom prst="rect">
            <a:avLst/>
          </a:prstGeom>
          <a:noFill/>
        </p:spPr>
        <p:txBody>
          <a:bodyPr anchor="b"/>
          <a:lstStyle>
            <a:lvl1pPr marL="0" indent="0">
              <a:lnSpc>
                <a:spcPct val="100000"/>
              </a:lnSpc>
              <a:spcBef>
                <a:spcPts val="0"/>
              </a:spcBef>
              <a:spcAft>
                <a:spcPts val="0"/>
              </a:spcAft>
              <a:buNone/>
              <a:defRPr sz="900" spc="0">
                <a:solidFill>
                  <a:schemeClr val="tx1"/>
                </a:solidFill>
                <a:latin typeface="Trebuchet MS" panose="020B0703020202090204" pitchFamily="34" charset="0"/>
              </a:defRPr>
            </a:lvl1pPr>
            <a:lvl2pPr marL="457200" indent="0">
              <a:buNone/>
              <a:defRPr sz="900"/>
            </a:lvl2pPr>
            <a:lvl3pPr marL="914400" indent="0">
              <a:buNone/>
              <a:defRPr sz="900"/>
            </a:lvl3pPr>
            <a:lvl4pPr marL="1371600" indent="0">
              <a:buNone/>
              <a:defRPr sz="900"/>
            </a:lvl4pPr>
            <a:lvl5pPr marL="1828800" indent="0">
              <a:buNone/>
              <a:defRPr sz="900"/>
            </a:lvl5pPr>
          </a:lstStyle>
          <a:p>
            <a:pPr lvl="0"/>
            <a:endParaRPr lang="en-US"/>
          </a:p>
        </p:txBody>
      </p:sp>
      <p:pic>
        <p:nvPicPr>
          <p:cNvPr id="10" name="Picture 9" descr="A picture containing text&#10;&#10;Description automatically generated">
            <a:extLst>
              <a:ext uri="{FF2B5EF4-FFF2-40B4-BE49-F238E27FC236}">
                <a16:creationId xmlns:a16="http://schemas.microsoft.com/office/drawing/2014/main" id="{F062A407-604C-4B22-BD79-1681EBA351D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7820974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42831" y="1630018"/>
            <a:ext cx="10515600" cy="3876261"/>
          </a:xfrm>
          <a:prstGeom prst="rect">
            <a:avLst/>
          </a:prstGeom>
        </p:spPr>
        <p:txBody>
          <a:bodyPr/>
          <a:lstStyle>
            <a:lvl1pPr marL="457200" indent="-457200">
              <a:lnSpc>
                <a:spcPts val="2600"/>
              </a:lnSpc>
              <a:spcBef>
                <a:spcPts val="1600"/>
              </a:spcBef>
              <a:buFont typeface="+mj-lt"/>
              <a:buAutoNum type="arabicPeriod"/>
              <a:defRPr sz="2000">
                <a:solidFill>
                  <a:srgbClr val="26245E"/>
                </a:solidFill>
                <a:latin typeface="Arial" panose="020B0604020202020204" pitchFamily="34" charset="0"/>
                <a:ea typeface="Arial" panose="020B0604020202020204" pitchFamily="34" charset="0"/>
                <a:cs typeface="Arial" panose="020B0604020202020204" pitchFamily="34" charset="0"/>
              </a:defRPr>
            </a:lvl1pPr>
            <a:lvl2pPr marL="914400" indent="-457200">
              <a:lnSpc>
                <a:spcPts val="2600"/>
              </a:lnSpc>
              <a:spcBef>
                <a:spcPts val="1600"/>
              </a:spcBef>
              <a:buFont typeface="+mj-lt"/>
              <a:buAutoNum type="arabicPeriod"/>
              <a:defRPr sz="2000">
                <a:solidFill>
                  <a:srgbClr val="26245E"/>
                </a:solidFill>
                <a:latin typeface="Arial" panose="020B0604020202020204" pitchFamily="34" charset="0"/>
                <a:ea typeface="Arial" panose="020B0604020202020204" pitchFamily="34" charset="0"/>
                <a:cs typeface="Arial" panose="020B0604020202020204" pitchFamily="34" charset="0"/>
              </a:defRPr>
            </a:lvl2pPr>
            <a:lvl3pPr marL="1371600" indent="-457200">
              <a:lnSpc>
                <a:spcPts val="2600"/>
              </a:lnSpc>
              <a:spcBef>
                <a:spcPts val="1600"/>
              </a:spcBef>
              <a:buFont typeface="+mj-lt"/>
              <a:buAutoNum type="arabicPeriod"/>
              <a:defRPr sz="2000">
                <a:solidFill>
                  <a:srgbClr val="26245E"/>
                </a:solidFill>
                <a:latin typeface="Arial" panose="020B0604020202020204" pitchFamily="34" charset="0"/>
                <a:ea typeface="Arial" panose="020B0604020202020204" pitchFamily="34" charset="0"/>
                <a:cs typeface="Arial" panose="020B0604020202020204" pitchFamily="34" charset="0"/>
              </a:defRPr>
            </a:lvl3pPr>
            <a:lvl4pPr marL="1828800" indent="-457200">
              <a:lnSpc>
                <a:spcPts val="2600"/>
              </a:lnSpc>
              <a:spcBef>
                <a:spcPts val="1600"/>
              </a:spcBef>
              <a:buFont typeface="+mj-lt"/>
              <a:buAutoNum type="arabicPeriod"/>
              <a:defRPr sz="2000">
                <a:solidFill>
                  <a:srgbClr val="26245E"/>
                </a:solidFill>
                <a:latin typeface="Arial" panose="020B0604020202020204" pitchFamily="34" charset="0"/>
                <a:ea typeface="Arial" panose="020B0604020202020204" pitchFamily="34" charset="0"/>
                <a:cs typeface="Arial" panose="020B0604020202020204" pitchFamily="34" charset="0"/>
              </a:defRPr>
            </a:lvl4pPr>
            <a:lvl5pPr marL="2286000" indent="-457200">
              <a:lnSpc>
                <a:spcPts val="2600"/>
              </a:lnSpc>
              <a:spcBef>
                <a:spcPts val="1600"/>
              </a:spcBef>
              <a:buFont typeface="+mj-lt"/>
              <a:buAutoNum type="arabicPeriod"/>
              <a:defRPr sz="2000">
                <a:solidFill>
                  <a:srgbClr val="26245E"/>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a:xfrm>
            <a:off x="9080994" y="6406046"/>
            <a:ext cx="2743200" cy="365125"/>
          </a:xfrm>
          <a:prstGeom prst="rect">
            <a:avLst/>
          </a:prstGeom>
        </p:spPr>
        <p:txBody>
          <a:bodyPr/>
          <a:lstStyle>
            <a:lvl1pPr algn="r">
              <a:defRPr sz="1050" b="0" i="0">
                <a:solidFill>
                  <a:schemeClr val="bg1">
                    <a:lumMod val="50000"/>
                  </a:schemeClr>
                </a:solidFill>
                <a:latin typeface="Arial" charset="0"/>
                <a:ea typeface="Arial" charset="0"/>
                <a:cs typeface="Arial" charset="0"/>
              </a:defRPr>
            </a:lvl1pPr>
          </a:lstStyle>
          <a:p>
            <a:fld id="{8E984537-86A2-A440-87A3-F69445D19A1D}" type="slidenum">
              <a:rPr lang="en-US" smtClean="0"/>
              <a:pPr/>
              <a:t>‹#›</a:t>
            </a:fld>
            <a:endParaRPr lang="en-US"/>
          </a:p>
        </p:txBody>
      </p:sp>
      <p:sp>
        <p:nvSpPr>
          <p:cNvPr id="10" name="Title 1">
            <a:extLst>
              <a:ext uri="{FF2B5EF4-FFF2-40B4-BE49-F238E27FC236}">
                <a16:creationId xmlns:a16="http://schemas.microsoft.com/office/drawing/2014/main" id="{E337115D-EC2C-D848-8336-3274987B7A2B}"/>
              </a:ext>
            </a:extLst>
          </p:cNvPr>
          <p:cNvSpPr>
            <a:spLocks noGrp="1"/>
          </p:cNvSpPr>
          <p:nvPr>
            <p:ph type="title"/>
          </p:nvPr>
        </p:nvSpPr>
        <p:spPr>
          <a:xfrm>
            <a:off x="342831" y="315765"/>
            <a:ext cx="10515600" cy="1325563"/>
          </a:xfrm>
          <a:prstGeom prst="rect">
            <a:avLst/>
          </a:prstGeom>
        </p:spPr>
        <p:txBody>
          <a:bodyPr/>
          <a:lstStyle>
            <a:lvl1pPr>
              <a:defRPr sz="3200" b="1">
                <a:solidFill>
                  <a:srgbClr val="26245E"/>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9001676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6C6CE33-203A-D04C-9C2B-5CF4DE687109}"/>
              </a:ext>
            </a:extLst>
          </p:cNvPr>
          <p:cNvSpPr>
            <a:spLocks noGrp="1"/>
          </p:cNvSpPr>
          <p:nvPr>
            <p:ph sz="quarter" idx="14" hasCustomPrompt="1"/>
          </p:nvPr>
        </p:nvSpPr>
        <p:spPr>
          <a:xfrm>
            <a:off x="212400" y="5918400"/>
            <a:ext cx="11799900" cy="437827"/>
          </a:xfrm>
        </p:spPr>
        <p:txBody>
          <a:bodyPr anchor="b"/>
          <a:lstStyle>
            <a:lvl1pPr>
              <a:lnSpc>
                <a:spcPct val="100000"/>
              </a:lnSpc>
              <a:spcAft>
                <a:spcPts val="300"/>
              </a:spcAft>
              <a:defRPr sz="900"/>
            </a:lvl1pPr>
          </a:lstStyle>
          <a:p>
            <a:pPr lvl="0"/>
            <a:r>
              <a:rPr lang="en-US"/>
              <a:t>Footnotes</a:t>
            </a:r>
          </a:p>
        </p:txBody>
      </p:sp>
      <p:sp>
        <p:nvSpPr>
          <p:cNvPr id="7" name="Title 1">
            <a:extLst>
              <a:ext uri="{FF2B5EF4-FFF2-40B4-BE49-F238E27FC236}">
                <a16:creationId xmlns:a16="http://schemas.microsoft.com/office/drawing/2014/main" id="{D0F05C5F-D63F-864F-B72B-4ABA4966F522}"/>
              </a:ext>
            </a:extLst>
          </p:cNvPr>
          <p:cNvSpPr>
            <a:spLocks noGrp="1"/>
          </p:cNvSpPr>
          <p:nvPr>
            <p:ph type="title"/>
          </p:nvPr>
        </p:nvSpPr>
        <p:spPr>
          <a:xfrm>
            <a:off x="342000" y="360000"/>
            <a:ext cx="11458800" cy="676800"/>
          </a:xfrm>
        </p:spPr>
        <p:txBody>
          <a:bodyPr lIns="0" tIns="0" anchor="t"/>
          <a:lstStyle/>
          <a:p>
            <a:r>
              <a:rPr lang="en-US"/>
              <a:t>Click to edit Master title style</a:t>
            </a:r>
            <a:endParaRPr lang="en-CA"/>
          </a:p>
        </p:txBody>
      </p:sp>
    </p:spTree>
    <p:extLst>
      <p:ext uri="{BB962C8B-B14F-4D97-AF65-F5344CB8AC3E}">
        <p14:creationId xmlns:p14="http://schemas.microsoft.com/office/powerpoint/2010/main" val="3366915027"/>
      </p:ext>
    </p:extLst>
  </p:cSld>
  <p:clrMapOvr>
    <a:masterClrMapping/>
  </p:clrMapOvr>
  <p:extLst>
    <p:ext uri="{DCECCB84-F9BA-43D5-87BE-67443E8EF086}">
      <p15:sldGuideLst xmlns:p15="http://schemas.microsoft.com/office/powerpoint/2012/main">
        <p15:guide id="1" orient="horz" pos="727">
          <p15:clr>
            <a:srgbClr val="FBAE40"/>
          </p15:clr>
        </p15:guide>
        <p15:guide id="3" pos="275">
          <p15:clr>
            <a:srgbClr val="FBAE40"/>
          </p15:clr>
        </p15:guide>
        <p15:guide id="4" pos="727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32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a:xfrm>
            <a:off x="380999" y="1280160"/>
            <a:ext cx="11704164" cy="4825821"/>
          </a:xfrm>
        </p:spPr>
        <p:txBody>
          <a:bodyPr/>
          <a:lstStyle>
            <a:lvl1pPr>
              <a:lnSpc>
                <a:spcPct val="100000"/>
              </a:lnSpc>
              <a:defRPr sz="2400">
                <a:latin typeface="Arial" panose="020B0604020202020204" pitchFamily="34" charset="0"/>
                <a:cs typeface="Arial" panose="020B0604020202020204" pitchFamily="34" charset="0"/>
              </a:defRPr>
            </a:lvl1pPr>
            <a:lvl2pPr>
              <a:lnSpc>
                <a:spcPct val="100000"/>
              </a:lnSpc>
              <a:defRPr sz="2000">
                <a:latin typeface="Arial" panose="020B0604020202020204" pitchFamily="34" charset="0"/>
                <a:cs typeface="Arial" panose="020B0604020202020204" pitchFamily="34" charset="0"/>
              </a:defRPr>
            </a:lvl2pPr>
            <a:lvl3pPr>
              <a:lnSpc>
                <a:spcPct val="100000"/>
              </a:lnSpc>
              <a:defRPr sz="1800">
                <a:latin typeface="Arial" panose="020B0604020202020204" pitchFamily="34" charset="0"/>
                <a:cs typeface="Arial" panose="020B0604020202020204" pitchFamily="34" charset="0"/>
              </a:defRPr>
            </a:lvl3pPr>
            <a:lvl4pPr>
              <a:lnSpc>
                <a:spcPct val="100000"/>
              </a:lnSpc>
              <a:defRPr sz="1600">
                <a:latin typeface="Arial" panose="020B0604020202020204" pitchFamily="34" charset="0"/>
                <a:cs typeface="Arial" panose="020B0604020202020204" pitchFamily="34" charset="0"/>
              </a:defRPr>
            </a:lvl4pPr>
            <a:lvl5pPr>
              <a:lnSpc>
                <a:spcPct val="100000"/>
              </a:lnSpc>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18F977-6C15-49B1-AA07-BEE9975E7737}" type="slidenum">
              <a:rPr kumimoji="0" lang="en-US" sz="1200" b="0" i="0" u="none" strike="noStrike" kern="1200" cap="none" spc="0" normalizeH="0" baseline="0" noProof="0" smtClean="0">
                <a:ln>
                  <a:noFill/>
                </a:ln>
                <a:solidFill>
                  <a:srgbClr val="262261">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262261">
                  <a:tint val="75000"/>
                </a:srgbClr>
              </a:solidFill>
              <a:effectLst/>
              <a:uLnTx/>
              <a:uFillTx/>
              <a:latin typeface="Arial" panose="020B0604020202020204"/>
              <a:ea typeface="+mn-ea"/>
              <a:cs typeface="+mn-cs"/>
            </a:endParaRPr>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380999" y="6105981"/>
            <a:ext cx="11097410" cy="501650"/>
          </a:xfrm>
        </p:spPr>
        <p:txBody>
          <a:bodyPr anchor="b">
            <a:normAutofit/>
          </a:bodyPr>
          <a:lstStyle>
            <a:lvl1pPr marL="0" indent="0">
              <a:buNone/>
              <a:defRPr sz="900">
                <a:latin typeface="Arial" panose="020B0604020202020204" pitchFamily="34" charset="0"/>
                <a:cs typeface="Arial" panose="020B0604020202020204" pitchFamily="34" charset="0"/>
              </a:defRPr>
            </a:lvl1pPr>
          </a:lstStyle>
          <a:p>
            <a:pPr lvl="0"/>
            <a:r>
              <a:rPr lang="en-US"/>
              <a:t>References/Footnotes/Abbreviations</a:t>
            </a:r>
          </a:p>
        </p:txBody>
      </p:sp>
    </p:spTree>
    <p:extLst>
      <p:ext uri="{BB962C8B-B14F-4D97-AF65-F5344CB8AC3E}">
        <p14:creationId xmlns:p14="http://schemas.microsoft.com/office/powerpoint/2010/main" val="9804310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B83B0-E2EE-78AC-E65E-CF7DE9DE0F8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15E77D1-D98C-6A47-6CA7-E0D4AC351CDD}"/>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D8F6D02-15BB-A345-5D51-ACAF71AF346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5" name="Footer Placeholder 4">
            <a:extLst>
              <a:ext uri="{FF2B5EF4-FFF2-40B4-BE49-F238E27FC236}">
                <a16:creationId xmlns:a16="http://schemas.microsoft.com/office/drawing/2014/main" id="{1EA40F35-D40F-DF55-424D-4892CF89F6C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E01CC50-1B9C-26D8-FEA7-FBAB69524450}"/>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13639342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8AC92-7412-6BC7-908F-B3148DB4432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06AFAC3-BB24-2312-D40B-068D637CCD20}"/>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C694D4-9CEE-D1FB-9749-EB59196DDFC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5" name="Footer Placeholder 4">
            <a:extLst>
              <a:ext uri="{FF2B5EF4-FFF2-40B4-BE49-F238E27FC236}">
                <a16:creationId xmlns:a16="http://schemas.microsoft.com/office/drawing/2014/main" id="{C4022604-0737-5470-23D1-B9D132B458E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9F1A606-5CA5-9DDA-9C10-325362F73D7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0316405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Point - Red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bg1"/>
                </a:solidFill>
                <a:latin typeface="+mj-lt"/>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39741995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A40B1-24B0-2E37-B474-FA2ED063B997}"/>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73309B-21C2-8C10-E96E-B7ABBD4CBD43}"/>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C81E2A-ACFD-58E8-3789-D57C7E577996}"/>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5" name="Footer Placeholder 4">
            <a:extLst>
              <a:ext uri="{FF2B5EF4-FFF2-40B4-BE49-F238E27FC236}">
                <a16:creationId xmlns:a16="http://schemas.microsoft.com/office/drawing/2014/main" id="{3894BFA6-DF3A-ECD3-78AF-9F562354ED1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61EA6F8-8644-1259-159C-FE5C251DC0AB}"/>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6294256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B29F7-F617-F8E8-E9B1-10D09756A0F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4BE2B0CC-E3E2-0C07-DA2A-7F6A859D2A5F}"/>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9BE80F0-178D-4F64-2C72-F7C2DD9CBA29}"/>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C4ADD08-280A-B326-2D67-A956CBC0FB02}"/>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6" name="Footer Placeholder 5">
            <a:extLst>
              <a:ext uri="{FF2B5EF4-FFF2-40B4-BE49-F238E27FC236}">
                <a16:creationId xmlns:a16="http://schemas.microsoft.com/office/drawing/2014/main" id="{39D57AA7-434E-78F6-FACF-3D9BA0E8A60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1EDA152-F8E1-8BB8-30A3-B80B47CA797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0795155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30F0A-A38B-0A18-3A3E-153AD2155FD9}"/>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03A6A173-1012-6BDC-1F7D-9FCC6FFD972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B75FDF6-E93D-72CF-A749-4504AC9147BF}"/>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A3217FB-CEFC-F3B8-15B4-2952D79AADFA}"/>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2C724F0-572B-6369-6F4D-FB49957ABCB8}"/>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898074E-0D2D-D56A-F0BF-24B69716F19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8" name="Footer Placeholder 7">
            <a:extLst>
              <a:ext uri="{FF2B5EF4-FFF2-40B4-BE49-F238E27FC236}">
                <a16:creationId xmlns:a16="http://schemas.microsoft.com/office/drawing/2014/main" id="{B177C139-AAEF-D701-B0B7-14F799DFA56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7D4F56AC-07FD-E3B9-0090-387045442CE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41193072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59B62-17E4-5A51-2A39-52518537506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B0111855-C35F-EABF-FDB4-6B201819FC65}"/>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4" name="Footer Placeholder 3">
            <a:extLst>
              <a:ext uri="{FF2B5EF4-FFF2-40B4-BE49-F238E27FC236}">
                <a16:creationId xmlns:a16="http://schemas.microsoft.com/office/drawing/2014/main" id="{7EDEAFBE-9AD7-87C8-B485-03FE9A1B2E9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426A76D0-4E96-C564-680E-7B80F315AAF5}"/>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558988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6AF5C0-A718-029E-375E-59C0DDCDE834}"/>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3" name="Footer Placeholder 2">
            <a:extLst>
              <a:ext uri="{FF2B5EF4-FFF2-40B4-BE49-F238E27FC236}">
                <a16:creationId xmlns:a16="http://schemas.microsoft.com/office/drawing/2014/main" id="{E83D3296-CF4C-6CCD-FA0E-F0BA94F40EA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08D0510-223F-34A7-83C3-F2A64ED65969}"/>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17953445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DFC26-DB88-48A9-F564-DF196226595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428BA2-443F-0455-6695-4795317BC6E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07F6511-081E-D606-64E7-8EEF21009E2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B22CBBD-758D-881C-105E-20AAD62DD475}"/>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6" name="Footer Placeholder 5">
            <a:extLst>
              <a:ext uri="{FF2B5EF4-FFF2-40B4-BE49-F238E27FC236}">
                <a16:creationId xmlns:a16="http://schemas.microsoft.com/office/drawing/2014/main" id="{2D7D13A2-A921-366A-094A-8A2E92430F3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BB33D45-CE21-1BFA-E8BD-704D6EE10C84}"/>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2530785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6B0B7-5AFC-93AA-C3F7-4B20025CCF0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F4BBF63-7719-D025-5910-C2781D0C9CBF}"/>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A68E296-F962-9F77-9AE8-57CB4C4CA376}"/>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0D810B-CFA9-3756-C110-C2F16C5119FD}"/>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6" name="Footer Placeholder 5">
            <a:extLst>
              <a:ext uri="{FF2B5EF4-FFF2-40B4-BE49-F238E27FC236}">
                <a16:creationId xmlns:a16="http://schemas.microsoft.com/office/drawing/2014/main" id="{BEBB1345-0D56-6F33-8CF9-6A454256480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83A13C9-C686-A9BB-1A11-03EF9698E022}"/>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9050748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9353B-5554-B891-D607-2DBE5011B79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5813115-7707-EA2E-682F-9F85EC2E4988}"/>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4D154A-A514-5D63-2C64-90F86C8B10F6}"/>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5" name="Footer Placeholder 4">
            <a:extLst>
              <a:ext uri="{FF2B5EF4-FFF2-40B4-BE49-F238E27FC236}">
                <a16:creationId xmlns:a16="http://schemas.microsoft.com/office/drawing/2014/main" id="{374538A1-B2FE-C27A-AFFB-7AA2ACB4553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9E1775F-D386-D6FB-EAEA-1798DA1D8B30}"/>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1292854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1597C3D-E79F-5B16-075F-F37AA3906A99}"/>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2D5811D-0E72-9061-60D4-9516A151EEBD}"/>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AA037D-88DD-A18D-E251-1FD48B71BA08}"/>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5" name="Footer Placeholder 4">
            <a:extLst>
              <a:ext uri="{FF2B5EF4-FFF2-40B4-BE49-F238E27FC236}">
                <a16:creationId xmlns:a16="http://schemas.microsoft.com/office/drawing/2014/main" id="{25334C13-E6AF-CA13-E1C4-65D17459FD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73601C1-ADBF-454E-95E3-E20810C96E7A}"/>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6524957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Red">
    <p:bg>
      <p:bgRef idx="1001">
        <a:schemeClr val="bg1"/>
      </p:bgRef>
    </p:bg>
    <p:spTree>
      <p:nvGrpSpPr>
        <p:cNvPr id="1" name=""/>
        <p:cNvGrpSpPr/>
        <p:nvPr/>
      </p:nvGrpSpPr>
      <p:grpSpPr>
        <a:xfrm>
          <a:off x="0" y="0"/>
          <a:ext cx="0" cy="0"/>
          <a:chOff x="0" y="0"/>
          <a:chExt cx="0" cy="0"/>
        </a:xfrm>
      </p:grpSpPr>
      <p:sp>
        <p:nvSpPr>
          <p:cNvPr id="10" name="Snip Same Side Corner Rectangle 9">
            <a:extLst>
              <a:ext uri="{FF2B5EF4-FFF2-40B4-BE49-F238E27FC236}">
                <a16:creationId xmlns:a16="http://schemas.microsoft.com/office/drawing/2014/main" id="{543CA030-B9BB-F44B-87E8-9D88D615959F}"/>
              </a:ext>
            </a:extLst>
          </p:cNvPr>
          <p:cNvSpPr/>
          <p:nvPr userDrawn="1"/>
        </p:nvSpPr>
        <p:spPr>
          <a:xfrm rot="10800000">
            <a:off x="-3534" y="-7712"/>
            <a:ext cx="12242966" cy="3225964"/>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0 w 12246603"/>
              <a:gd name="connsiteY6" fmla="*/ 6897738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40341 w 12246603"/>
              <a:gd name="connsiteY5" fmla="*/ 5001703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26894 w 12246603"/>
              <a:gd name="connsiteY5" fmla="*/ 3293926 h 6897738"/>
              <a:gd name="connsiteX6" fmla="*/ 40341 w 12246603"/>
              <a:gd name="connsiteY6" fmla="*/ 4463820 h 6897738"/>
              <a:gd name="connsiteX7" fmla="*/ 0 w 12246603"/>
              <a:gd name="connsiteY7" fmla="*/ 1182761 h 6897738"/>
              <a:gd name="connsiteX8" fmla="*/ 8603213 w 12246603"/>
              <a:gd name="connsiteY8" fmla="*/ 0 h 6897738"/>
              <a:gd name="connsiteX0" fmla="*/ 8616660 w 12260050"/>
              <a:gd name="connsiteY0" fmla="*/ 0 h 6897738"/>
              <a:gd name="connsiteX1" fmla="*/ 8624025 w 12260050"/>
              <a:gd name="connsiteY1" fmla="*/ 2793 h 6897738"/>
              <a:gd name="connsiteX2" fmla="*/ 12233156 w 12260050"/>
              <a:gd name="connsiteY2" fmla="*/ 1182761 h 6897738"/>
              <a:gd name="connsiteX3" fmla="*/ 12233156 w 12260050"/>
              <a:gd name="connsiteY3" fmla="*/ 6897738 h 6897738"/>
              <a:gd name="connsiteX4" fmla="*/ 12260050 w 12260050"/>
              <a:gd name="connsiteY4" fmla="*/ 4557950 h 6897738"/>
              <a:gd name="connsiteX5" fmla="*/ 40341 w 12260050"/>
              <a:gd name="connsiteY5" fmla="*/ 3293926 h 6897738"/>
              <a:gd name="connsiteX6" fmla="*/ 0 w 12260050"/>
              <a:gd name="connsiteY6" fmla="*/ 3132562 h 6897738"/>
              <a:gd name="connsiteX7" fmla="*/ 13447 w 12260050"/>
              <a:gd name="connsiteY7" fmla="*/ 1182761 h 6897738"/>
              <a:gd name="connsiteX8" fmla="*/ 8616660 w 12260050"/>
              <a:gd name="connsiteY8" fmla="*/ 0 h 6897738"/>
              <a:gd name="connsiteX0" fmla="*/ 8616660 w 12260050"/>
              <a:gd name="connsiteY0" fmla="*/ 0 h 4557950"/>
              <a:gd name="connsiteX1" fmla="*/ 8624025 w 12260050"/>
              <a:gd name="connsiteY1" fmla="*/ 2793 h 4557950"/>
              <a:gd name="connsiteX2" fmla="*/ 12233156 w 12260050"/>
              <a:gd name="connsiteY2" fmla="*/ 1182761 h 4557950"/>
              <a:gd name="connsiteX3" fmla="*/ 12233156 w 12260050"/>
              <a:gd name="connsiteY3" fmla="*/ 3334268 h 4557950"/>
              <a:gd name="connsiteX4" fmla="*/ 12260050 w 12260050"/>
              <a:gd name="connsiteY4" fmla="*/ 4557950 h 4557950"/>
              <a:gd name="connsiteX5" fmla="*/ 40341 w 12260050"/>
              <a:gd name="connsiteY5" fmla="*/ 3293926 h 4557950"/>
              <a:gd name="connsiteX6" fmla="*/ 0 w 12260050"/>
              <a:gd name="connsiteY6" fmla="*/ 3132562 h 4557950"/>
              <a:gd name="connsiteX7" fmla="*/ 13447 w 12260050"/>
              <a:gd name="connsiteY7" fmla="*/ 1182761 h 4557950"/>
              <a:gd name="connsiteX8" fmla="*/ 8616660 w 12260050"/>
              <a:gd name="connsiteY8" fmla="*/ 0 h 4557950"/>
              <a:gd name="connsiteX0" fmla="*/ 8616660 w 12260050"/>
              <a:gd name="connsiteY0" fmla="*/ 0 h 3441844"/>
              <a:gd name="connsiteX1" fmla="*/ 8624025 w 12260050"/>
              <a:gd name="connsiteY1" fmla="*/ 2793 h 3441844"/>
              <a:gd name="connsiteX2" fmla="*/ 12233156 w 12260050"/>
              <a:gd name="connsiteY2" fmla="*/ 1182761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007950 h 3441844"/>
              <a:gd name="connsiteX8" fmla="*/ 8616660 w 12260050"/>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40341 w 12313838"/>
              <a:gd name="connsiteY5" fmla="*/ 3293926 h 3441844"/>
              <a:gd name="connsiteX6" fmla="*/ 0 w 12313838"/>
              <a:gd name="connsiteY6" fmla="*/ 3132562 h 3441844"/>
              <a:gd name="connsiteX7" fmla="*/ 13447 w 12313838"/>
              <a:gd name="connsiteY7" fmla="*/ 1007950 h 3441844"/>
              <a:gd name="connsiteX8" fmla="*/ 8616660 w 12313838"/>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132562 h 3441844"/>
              <a:gd name="connsiteX6" fmla="*/ 13447 w 12313838"/>
              <a:gd name="connsiteY6" fmla="*/ 1007950 h 3441844"/>
              <a:gd name="connsiteX7" fmla="*/ 8616660 w 12313838"/>
              <a:gd name="connsiteY7"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217086 h 3441844"/>
              <a:gd name="connsiteX6" fmla="*/ 13447 w 12313838"/>
              <a:gd name="connsiteY6" fmla="*/ 1007950 h 3441844"/>
              <a:gd name="connsiteX7" fmla="*/ 8616660 w 12313838"/>
              <a:gd name="connsiteY7" fmla="*/ 0 h 3441844"/>
              <a:gd name="connsiteX0" fmla="*/ 8616660 w 12313838"/>
              <a:gd name="connsiteY0" fmla="*/ 0 h 3320821"/>
              <a:gd name="connsiteX1" fmla="*/ 8624025 w 12313838"/>
              <a:gd name="connsiteY1" fmla="*/ 2793 h 3320821"/>
              <a:gd name="connsiteX2" fmla="*/ 12260050 w 12313838"/>
              <a:gd name="connsiteY2" fmla="*/ 994503 h 3320821"/>
              <a:gd name="connsiteX3" fmla="*/ 12313838 w 12313838"/>
              <a:gd name="connsiteY3" fmla="*/ 3320821 h 3320821"/>
              <a:gd name="connsiteX4" fmla="*/ 0 w 12313838"/>
              <a:gd name="connsiteY4" fmla="*/ 3217086 h 3320821"/>
              <a:gd name="connsiteX5" fmla="*/ 13447 w 12313838"/>
              <a:gd name="connsiteY5" fmla="*/ 1007950 h 3320821"/>
              <a:gd name="connsiteX6" fmla="*/ 8616660 w 12313838"/>
              <a:gd name="connsiteY6" fmla="*/ 0 h 3320821"/>
              <a:gd name="connsiteX0" fmla="*/ 8616660 w 12260050"/>
              <a:gd name="connsiteY0" fmla="*/ 0 h 3236297"/>
              <a:gd name="connsiteX1" fmla="*/ 8624025 w 12260050"/>
              <a:gd name="connsiteY1" fmla="*/ 2793 h 3236297"/>
              <a:gd name="connsiteX2" fmla="*/ 12260050 w 12260050"/>
              <a:gd name="connsiteY2" fmla="*/ 994503 h 3236297"/>
              <a:gd name="connsiteX3" fmla="*/ 12190893 w 12260050"/>
              <a:gd name="connsiteY3" fmla="*/ 3236297 h 3236297"/>
              <a:gd name="connsiteX4" fmla="*/ 0 w 12260050"/>
              <a:gd name="connsiteY4" fmla="*/ 3217086 h 3236297"/>
              <a:gd name="connsiteX5" fmla="*/ 13447 w 12260050"/>
              <a:gd name="connsiteY5" fmla="*/ 1007950 h 3236297"/>
              <a:gd name="connsiteX6" fmla="*/ 8616660 w 12260050"/>
              <a:gd name="connsiteY6" fmla="*/ 0 h 3236297"/>
              <a:gd name="connsiteX0" fmla="*/ 8616660 w 12260050"/>
              <a:gd name="connsiteY0" fmla="*/ 0 h 3217086"/>
              <a:gd name="connsiteX1" fmla="*/ 8624025 w 12260050"/>
              <a:gd name="connsiteY1" fmla="*/ 2793 h 3217086"/>
              <a:gd name="connsiteX2" fmla="*/ 12260050 w 12260050"/>
              <a:gd name="connsiteY2" fmla="*/ 994503 h 3217086"/>
              <a:gd name="connsiteX3" fmla="*/ 11745219 w 12260050"/>
              <a:gd name="connsiteY3" fmla="*/ 2951988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260050"/>
              <a:gd name="connsiteY0" fmla="*/ 0 h 3217086"/>
              <a:gd name="connsiteX1" fmla="*/ 8624025 w 12260050"/>
              <a:gd name="connsiteY1" fmla="*/ 2793 h 3217086"/>
              <a:gd name="connsiteX2" fmla="*/ 12260050 w 12260050"/>
              <a:gd name="connsiteY2" fmla="*/ 994503 h 3217086"/>
              <a:gd name="connsiteX3" fmla="*/ 12183209 w 12260050"/>
              <a:gd name="connsiteY3" fmla="*/ 3213245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198578"/>
              <a:gd name="connsiteY0" fmla="*/ 0 h 3217086"/>
              <a:gd name="connsiteX1" fmla="*/ 8624025 w 12198578"/>
              <a:gd name="connsiteY1" fmla="*/ 2793 h 3217086"/>
              <a:gd name="connsiteX2" fmla="*/ 12198578 w 12198578"/>
              <a:gd name="connsiteY2" fmla="*/ 986819 h 3217086"/>
              <a:gd name="connsiteX3" fmla="*/ 12183209 w 12198578"/>
              <a:gd name="connsiteY3" fmla="*/ 3213245 h 3217086"/>
              <a:gd name="connsiteX4" fmla="*/ 0 w 12198578"/>
              <a:gd name="connsiteY4" fmla="*/ 3217086 h 3217086"/>
              <a:gd name="connsiteX5" fmla="*/ 13447 w 12198578"/>
              <a:gd name="connsiteY5" fmla="*/ 1007950 h 3217086"/>
              <a:gd name="connsiteX6" fmla="*/ 8616660 w 12198578"/>
              <a:gd name="connsiteY6" fmla="*/ 0 h 3217086"/>
              <a:gd name="connsiteX0" fmla="*/ 8616660 w 12198578"/>
              <a:gd name="connsiteY0" fmla="*/ 0 h 3223755"/>
              <a:gd name="connsiteX1" fmla="*/ 8624025 w 12198578"/>
              <a:gd name="connsiteY1" fmla="*/ 2793 h 3223755"/>
              <a:gd name="connsiteX2" fmla="*/ 12198578 w 12198578"/>
              <a:gd name="connsiteY2" fmla="*/ 986819 h 3223755"/>
              <a:gd name="connsiteX3" fmla="*/ 12193720 w 12198578"/>
              <a:gd name="connsiteY3" fmla="*/ 3223755 h 3223755"/>
              <a:gd name="connsiteX4" fmla="*/ 0 w 12198578"/>
              <a:gd name="connsiteY4" fmla="*/ 3217086 h 3223755"/>
              <a:gd name="connsiteX5" fmla="*/ 13447 w 12198578"/>
              <a:gd name="connsiteY5" fmla="*/ 1007950 h 3223755"/>
              <a:gd name="connsiteX6" fmla="*/ 8616660 w 12198578"/>
              <a:gd name="connsiteY6" fmla="*/ 0 h 3223755"/>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57835 w 12242966"/>
              <a:gd name="connsiteY5" fmla="*/ 1007950 h 3225964"/>
              <a:gd name="connsiteX6" fmla="*/ 8661048 w 12242966"/>
              <a:gd name="connsiteY6" fmla="*/ 0 h 3225964"/>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31202 w 12242966"/>
              <a:gd name="connsiteY5" fmla="*/ 999072 h 3225964"/>
              <a:gd name="connsiteX6" fmla="*/ 8661048 w 12242966"/>
              <a:gd name="connsiteY6" fmla="*/ 0 h 32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966" h="3225964">
                <a:moveTo>
                  <a:pt x="8661048" y="0"/>
                </a:moveTo>
                <a:lnTo>
                  <a:pt x="8668413" y="2793"/>
                </a:lnTo>
                <a:lnTo>
                  <a:pt x="12242966" y="986819"/>
                </a:lnTo>
                <a:cubicBezTo>
                  <a:pt x="12241347" y="1732464"/>
                  <a:pt x="12239727" y="2478110"/>
                  <a:pt x="12238108" y="3223755"/>
                </a:cubicBezTo>
                <a:lnTo>
                  <a:pt x="0" y="3225964"/>
                </a:lnTo>
                <a:cubicBezTo>
                  <a:pt x="4482" y="2576030"/>
                  <a:pt x="26720" y="1649006"/>
                  <a:pt x="31202" y="999072"/>
                </a:cubicBezTo>
                <a:lnTo>
                  <a:pt x="8661048"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A picture containing text&#10;&#10;Description automatically generated">
            <a:extLst>
              <a:ext uri="{FF2B5EF4-FFF2-40B4-BE49-F238E27FC236}">
                <a16:creationId xmlns:a16="http://schemas.microsoft.com/office/drawing/2014/main" id="{F79DFC0D-C14A-0C4D-84A1-CA377E7B386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7" name="Title 1">
            <a:extLst>
              <a:ext uri="{FF2B5EF4-FFF2-40B4-BE49-F238E27FC236}">
                <a16:creationId xmlns:a16="http://schemas.microsoft.com/office/drawing/2014/main" id="{6D208309-0462-8541-810A-1B44629BDA2B}"/>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2"/>
                </a:solidFill>
                <a:latin typeface="Trebuchet MS" panose="020B0703020202090204" pitchFamily="34" charset="0"/>
              </a:defRPr>
            </a:lvl1pPr>
          </a:lstStyle>
          <a:p>
            <a:r>
              <a:rPr lang="en-US" dirty="0"/>
              <a:t>Click to edit master title style</a:t>
            </a:r>
          </a:p>
        </p:txBody>
      </p:sp>
      <p:sp>
        <p:nvSpPr>
          <p:cNvPr id="8" name="Subtitle 2">
            <a:extLst>
              <a:ext uri="{FF2B5EF4-FFF2-40B4-BE49-F238E27FC236}">
                <a16:creationId xmlns:a16="http://schemas.microsoft.com/office/drawing/2014/main" id="{0028168B-6ACE-9E48-A8FC-7DAB851DA5C4}"/>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4" name="Slide Number Placeholder 5">
            <a:extLst>
              <a:ext uri="{FF2B5EF4-FFF2-40B4-BE49-F238E27FC236}">
                <a16:creationId xmlns:a16="http://schemas.microsoft.com/office/drawing/2014/main" id="{575D77BE-4FAC-F444-91E1-78A48998D11B}"/>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dirty="0">
                <a:solidFill>
                  <a:schemeClr val="bg2"/>
                </a:solidFill>
                <a:effectLst/>
                <a:latin typeface="+mn-lt"/>
                <a:ea typeface="+mn-ea"/>
                <a:cs typeface="+mn-cs"/>
              </a:rPr>
              <a:t>GILEAD and the GILEAD logo are trademarks of Gilead Sciences, Inc. </a:t>
            </a:r>
            <a:endParaRPr lang="en-US" b="0" i="0" dirty="0">
              <a:latin typeface="Trebuchet MS" panose="020B0703020202090204" pitchFamily="34" charset="0"/>
            </a:endParaRPr>
          </a:p>
        </p:txBody>
      </p:sp>
    </p:spTree>
    <p:extLst>
      <p:ext uri="{BB962C8B-B14F-4D97-AF65-F5344CB8AC3E}">
        <p14:creationId xmlns:p14="http://schemas.microsoft.com/office/powerpoint/2010/main" val="2822944175"/>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bg1"/>
                </a:solidFill>
                <a:latin typeface="+mj-lt"/>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33276120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Blue">
    <p:bg>
      <p:bgRef idx="1001">
        <a:schemeClr val="bg1"/>
      </p:bgRef>
    </p:bg>
    <p:spTree>
      <p:nvGrpSpPr>
        <p:cNvPr id="1" name=""/>
        <p:cNvGrpSpPr/>
        <p:nvPr/>
      </p:nvGrpSpPr>
      <p:grpSpPr>
        <a:xfrm>
          <a:off x="0" y="0"/>
          <a:ext cx="0" cy="0"/>
          <a:chOff x="0" y="0"/>
          <a:chExt cx="0" cy="0"/>
        </a:xfrm>
      </p:grpSpPr>
      <p:sp>
        <p:nvSpPr>
          <p:cNvPr id="10" name="Snip Same Side Corner Rectangle 9">
            <a:extLst>
              <a:ext uri="{FF2B5EF4-FFF2-40B4-BE49-F238E27FC236}">
                <a16:creationId xmlns:a16="http://schemas.microsoft.com/office/drawing/2014/main" id="{543CA030-B9BB-F44B-87E8-9D88D615959F}"/>
              </a:ext>
            </a:extLst>
          </p:cNvPr>
          <p:cNvSpPr/>
          <p:nvPr userDrawn="1"/>
        </p:nvSpPr>
        <p:spPr>
          <a:xfrm rot="10800000">
            <a:off x="0" y="0"/>
            <a:ext cx="12242966" cy="3225964"/>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0 w 12246603"/>
              <a:gd name="connsiteY6" fmla="*/ 6897738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40341 w 12246603"/>
              <a:gd name="connsiteY5" fmla="*/ 5001703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26894 w 12246603"/>
              <a:gd name="connsiteY5" fmla="*/ 3293926 h 6897738"/>
              <a:gd name="connsiteX6" fmla="*/ 40341 w 12246603"/>
              <a:gd name="connsiteY6" fmla="*/ 4463820 h 6897738"/>
              <a:gd name="connsiteX7" fmla="*/ 0 w 12246603"/>
              <a:gd name="connsiteY7" fmla="*/ 1182761 h 6897738"/>
              <a:gd name="connsiteX8" fmla="*/ 8603213 w 12246603"/>
              <a:gd name="connsiteY8" fmla="*/ 0 h 6897738"/>
              <a:gd name="connsiteX0" fmla="*/ 8616660 w 12260050"/>
              <a:gd name="connsiteY0" fmla="*/ 0 h 6897738"/>
              <a:gd name="connsiteX1" fmla="*/ 8624025 w 12260050"/>
              <a:gd name="connsiteY1" fmla="*/ 2793 h 6897738"/>
              <a:gd name="connsiteX2" fmla="*/ 12233156 w 12260050"/>
              <a:gd name="connsiteY2" fmla="*/ 1182761 h 6897738"/>
              <a:gd name="connsiteX3" fmla="*/ 12233156 w 12260050"/>
              <a:gd name="connsiteY3" fmla="*/ 6897738 h 6897738"/>
              <a:gd name="connsiteX4" fmla="*/ 12260050 w 12260050"/>
              <a:gd name="connsiteY4" fmla="*/ 4557950 h 6897738"/>
              <a:gd name="connsiteX5" fmla="*/ 40341 w 12260050"/>
              <a:gd name="connsiteY5" fmla="*/ 3293926 h 6897738"/>
              <a:gd name="connsiteX6" fmla="*/ 0 w 12260050"/>
              <a:gd name="connsiteY6" fmla="*/ 3132562 h 6897738"/>
              <a:gd name="connsiteX7" fmla="*/ 13447 w 12260050"/>
              <a:gd name="connsiteY7" fmla="*/ 1182761 h 6897738"/>
              <a:gd name="connsiteX8" fmla="*/ 8616660 w 12260050"/>
              <a:gd name="connsiteY8" fmla="*/ 0 h 6897738"/>
              <a:gd name="connsiteX0" fmla="*/ 8616660 w 12260050"/>
              <a:gd name="connsiteY0" fmla="*/ 0 h 4557950"/>
              <a:gd name="connsiteX1" fmla="*/ 8624025 w 12260050"/>
              <a:gd name="connsiteY1" fmla="*/ 2793 h 4557950"/>
              <a:gd name="connsiteX2" fmla="*/ 12233156 w 12260050"/>
              <a:gd name="connsiteY2" fmla="*/ 1182761 h 4557950"/>
              <a:gd name="connsiteX3" fmla="*/ 12233156 w 12260050"/>
              <a:gd name="connsiteY3" fmla="*/ 3334268 h 4557950"/>
              <a:gd name="connsiteX4" fmla="*/ 12260050 w 12260050"/>
              <a:gd name="connsiteY4" fmla="*/ 4557950 h 4557950"/>
              <a:gd name="connsiteX5" fmla="*/ 40341 w 12260050"/>
              <a:gd name="connsiteY5" fmla="*/ 3293926 h 4557950"/>
              <a:gd name="connsiteX6" fmla="*/ 0 w 12260050"/>
              <a:gd name="connsiteY6" fmla="*/ 3132562 h 4557950"/>
              <a:gd name="connsiteX7" fmla="*/ 13447 w 12260050"/>
              <a:gd name="connsiteY7" fmla="*/ 1182761 h 4557950"/>
              <a:gd name="connsiteX8" fmla="*/ 8616660 w 12260050"/>
              <a:gd name="connsiteY8" fmla="*/ 0 h 4557950"/>
              <a:gd name="connsiteX0" fmla="*/ 8616660 w 12260050"/>
              <a:gd name="connsiteY0" fmla="*/ 0 h 3441844"/>
              <a:gd name="connsiteX1" fmla="*/ 8624025 w 12260050"/>
              <a:gd name="connsiteY1" fmla="*/ 2793 h 3441844"/>
              <a:gd name="connsiteX2" fmla="*/ 12233156 w 12260050"/>
              <a:gd name="connsiteY2" fmla="*/ 1182761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007950 h 3441844"/>
              <a:gd name="connsiteX8" fmla="*/ 8616660 w 12260050"/>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40341 w 12313838"/>
              <a:gd name="connsiteY5" fmla="*/ 3293926 h 3441844"/>
              <a:gd name="connsiteX6" fmla="*/ 0 w 12313838"/>
              <a:gd name="connsiteY6" fmla="*/ 3132562 h 3441844"/>
              <a:gd name="connsiteX7" fmla="*/ 13447 w 12313838"/>
              <a:gd name="connsiteY7" fmla="*/ 1007950 h 3441844"/>
              <a:gd name="connsiteX8" fmla="*/ 8616660 w 12313838"/>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132562 h 3441844"/>
              <a:gd name="connsiteX6" fmla="*/ 13447 w 12313838"/>
              <a:gd name="connsiteY6" fmla="*/ 1007950 h 3441844"/>
              <a:gd name="connsiteX7" fmla="*/ 8616660 w 12313838"/>
              <a:gd name="connsiteY7"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217086 h 3441844"/>
              <a:gd name="connsiteX6" fmla="*/ 13447 w 12313838"/>
              <a:gd name="connsiteY6" fmla="*/ 1007950 h 3441844"/>
              <a:gd name="connsiteX7" fmla="*/ 8616660 w 12313838"/>
              <a:gd name="connsiteY7" fmla="*/ 0 h 3441844"/>
              <a:gd name="connsiteX0" fmla="*/ 8616660 w 12313838"/>
              <a:gd name="connsiteY0" fmla="*/ 0 h 3320821"/>
              <a:gd name="connsiteX1" fmla="*/ 8624025 w 12313838"/>
              <a:gd name="connsiteY1" fmla="*/ 2793 h 3320821"/>
              <a:gd name="connsiteX2" fmla="*/ 12260050 w 12313838"/>
              <a:gd name="connsiteY2" fmla="*/ 994503 h 3320821"/>
              <a:gd name="connsiteX3" fmla="*/ 12313838 w 12313838"/>
              <a:gd name="connsiteY3" fmla="*/ 3320821 h 3320821"/>
              <a:gd name="connsiteX4" fmla="*/ 0 w 12313838"/>
              <a:gd name="connsiteY4" fmla="*/ 3217086 h 3320821"/>
              <a:gd name="connsiteX5" fmla="*/ 13447 w 12313838"/>
              <a:gd name="connsiteY5" fmla="*/ 1007950 h 3320821"/>
              <a:gd name="connsiteX6" fmla="*/ 8616660 w 12313838"/>
              <a:gd name="connsiteY6" fmla="*/ 0 h 3320821"/>
              <a:gd name="connsiteX0" fmla="*/ 8616660 w 12260050"/>
              <a:gd name="connsiteY0" fmla="*/ 0 h 3236297"/>
              <a:gd name="connsiteX1" fmla="*/ 8624025 w 12260050"/>
              <a:gd name="connsiteY1" fmla="*/ 2793 h 3236297"/>
              <a:gd name="connsiteX2" fmla="*/ 12260050 w 12260050"/>
              <a:gd name="connsiteY2" fmla="*/ 994503 h 3236297"/>
              <a:gd name="connsiteX3" fmla="*/ 12190893 w 12260050"/>
              <a:gd name="connsiteY3" fmla="*/ 3236297 h 3236297"/>
              <a:gd name="connsiteX4" fmla="*/ 0 w 12260050"/>
              <a:gd name="connsiteY4" fmla="*/ 3217086 h 3236297"/>
              <a:gd name="connsiteX5" fmla="*/ 13447 w 12260050"/>
              <a:gd name="connsiteY5" fmla="*/ 1007950 h 3236297"/>
              <a:gd name="connsiteX6" fmla="*/ 8616660 w 12260050"/>
              <a:gd name="connsiteY6" fmla="*/ 0 h 3236297"/>
              <a:gd name="connsiteX0" fmla="*/ 8616660 w 12260050"/>
              <a:gd name="connsiteY0" fmla="*/ 0 h 3217086"/>
              <a:gd name="connsiteX1" fmla="*/ 8624025 w 12260050"/>
              <a:gd name="connsiteY1" fmla="*/ 2793 h 3217086"/>
              <a:gd name="connsiteX2" fmla="*/ 12260050 w 12260050"/>
              <a:gd name="connsiteY2" fmla="*/ 994503 h 3217086"/>
              <a:gd name="connsiteX3" fmla="*/ 11745219 w 12260050"/>
              <a:gd name="connsiteY3" fmla="*/ 2951988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260050"/>
              <a:gd name="connsiteY0" fmla="*/ 0 h 3217086"/>
              <a:gd name="connsiteX1" fmla="*/ 8624025 w 12260050"/>
              <a:gd name="connsiteY1" fmla="*/ 2793 h 3217086"/>
              <a:gd name="connsiteX2" fmla="*/ 12260050 w 12260050"/>
              <a:gd name="connsiteY2" fmla="*/ 994503 h 3217086"/>
              <a:gd name="connsiteX3" fmla="*/ 12183209 w 12260050"/>
              <a:gd name="connsiteY3" fmla="*/ 3213245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198578"/>
              <a:gd name="connsiteY0" fmla="*/ 0 h 3217086"/>
              <a:gd name="connsiteX1" fmla="*/ 8624025 w 12198578"/>
              <a:gd name="connsiteY1" fmla="*/ 2793 h 3217086"/>
              <a:gd name="connsiteX2" fmla="*/ 12198578 w 12198578"/>
              <a:gd name="connsiteY2" fmla="*/ 986819 h 3217086"/>
              <a:gd name="connsiteX3" fmla="*/ 12183209 w 12198578"/>
              <a:gd name="connsiteY3" fmla="*/ 3213245 h 3217086"/>
              <a:gd name="connsiteX4" fmla="*/ 0 w 12198578"/>
              <a:gd name="connsiteY4" fmla="*/ 3217086 h 3217086"/>
              <a:gd name="connsiteX5" fmla="*/ 13447 w 12198578"/>
              <a:gd name="connsiteY5" fmla="*/ 1007950 h 3217086"/>
              <a:gd name="connsiteX6" fmla="*/ 8616660 w 12198578"/>
              <a:gd name="connsiteY6" fmla="*/ 0 h 3217086"/>
              <a:gd name="connsiteX0" fmla="*/ 8616660 w 12198578"/>
              <a:gd name="connsiteY0" fmla="*/ 0 h 3223755"/>
              <a:gd name="connsiteX1" fmla="*/ 8624025 w 12198578"/>
              <a:gd name="connsiteY1" fmla="*/ 2793 h 3223755"/>
              <a:gd name="connsiteX2" fmla="*/ 12198578 w 12198578"/>
              <a:gd name="connsiteY2" fmla="*/ 986819 h 3223755"/>
              <a:gd name="connsiteX3" fmla="*/ 12193720 w 12198578"/>
              <a:gd name="connsiteY3" fmla="*/ 3223755 h 3223755"/>
              <a:gd name="connsiteX4" fmla="*/ 0 w 12198578"/>
              <a:gd name="connsiteY4" fmla="*/ 3217086 h 3223755"/>
              <a:gd name="connsiteX5" fmla="*/ 13447 w 12198578"/>
              <a:gd name="connsiteY5" fmla="*/ 1007950 h 3223755"/>
              <a:gd name="connsiteX6" fmla="*/ 8616660 w 12198578"/>
              <a:gd name="connsiteY6" fmla="*/ 0 h 3223755"/>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57835 w 12242966"/>
              <a:gd name="connsiteY5" fmla="*/ 1007950 h 3225964"/>
              <a:gd name="connsiteX6" fmla="*/ 8661048 w 12242966"/>
              <a:gd name="connsiteY6" fmla="*/ 0 h 3225964"/>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31202 w 12242966"/>
              <a:gd name="connsiteY5" fmla="*/ 999072 h 3225964"/>
              <a:gd name="connsiteX6" fmla="*/ 8661048 w 12242966"/>
              <a:gd name="connsiteY6" fmla="*/ 0 h 32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966" h="3225964">
                <a:moveTo>
                  <a:pt x="8661048" y="0"/>
                </a:moveTo>
                <a:lnTo>
                  <a:pt x="8668413" y="2793"/>
                </a:lnTo>
                <a:lnTo>
                  <a:pt x="12242966" y="986819"/>
                </a:lnTo>
                <a:cubicBezTo>
                  <a:pt x="12241347" y="1732464"/>
                  <a:pt x="12239727" y="2478110"/>
                  <a:pt x="12238108" y="3223755"/>
                </a:cubicBezTo>
                <a:lnTo>
                  <a:pt x="0" y="3225964"/>
                </a:lnTo>
                <a:cubicBezTo>
                  <a:pt x="4482" y="2576030"/>
                  <a:pt x="26720" y="1649006"/>
                  <a:pt x="31202" y="999072"/>
                </a:cubicBezTo>
                <a:lnTo>
                  <a:pt x="8661048"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lide Number Placeholder 5">
            <a:extLst>
              <a:ext uri="{FF2B5EF4-FFF2-40B4-BE49-F238E27FC236}">
                <a16:creationId xmlns:a16="http://schemas.microsoft.com/office/drawing/2014/main" id="{198E766B-09F6-1446-AA31-C4C5A450A666}"/>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dirty="0">
                <a:solidFill>
                  <a:schemeClr val="bg2"/>
                </a:solidFill>
                <a:effectLst/>
                <a:latin typeface="+mn-lt"/>
                <a:ea typeface="+mn-ea"/>
                <a:cs typeface="+mn-cs"/>
              </a:rPr>
              <a:t>GILEAD and the GILEAD logo are trademarks of Gilead Sciences, Inc. </a:t>
            </a:r>
            <a:endParaRPr lang="en-US" b="0" i="0" dirty="0">
              <a:latin typeface="Trebuchet MS" panose="020B0703020202090204" pitchFamily="34" charset="0"/>
            </a:endParaRPr>
          </a:p>
        </p:txBody>
      </p:sp>
      <p:pic>
        <p:nvPicPr>
          <p:cNvPr id="7" name="Picture 6" descr="A picture containing text&#10;&#10;Description automatically generated">
            <a:extLst>
              <a:ext uri="{FF2B5EF4-FFF2-40B4-BE49-F238E27FC236}">
                <a16:creationId xmlns:a16="http://schemas.microsoft.com/office/drawing/2014/main" id="{74EDF864-96D5-2B42-A4ED-FFDADB00D6D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8" name="Title 1">
            <a:extLst>
              <a:ext uri="{FF2B5EF4-FFF2-40B4-BE49-F238E27FC236}">
                <a16:creationId xmlns:a16="http://schemas.microsoft.com/office/drawing/2014/main" id="{AD17D43D-88B8-7F49-9F24-09DCFB537902}"/>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1"/>
                </a:solidFill>
                <a:latin typeface="Trebuchet MS" panose="020B0703020202090204" pitchFamily="34" charset="0"/>
              </a:defRPr>
            </a:lvl1pPr>
          </a:lstStyle>
          <a:p>
            <a:r>
              <a:rPr lang="en-US" dirty="0"/>
              <a:t>Click to edit master title style</a:t>
            </a:r>
          </a:p>
        </p:txBody>
      </p:sp>
      <p:sp>
        <p:nvSpPr>
          <p:cNvPr id="14" name="Subtitle 2">
            <a:extLst>
              <a:ext uri="{FF2B5EF4-FFF2-40B4-BE49-F238E27FC236}">
                <a16:creationId xmlns:a16="http://schemas.microsoft.com/office/drawing/2014/main" id="{E78C1A97-699A-DD4D-BD1B-C1C01A9E8AEB}"/>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162593055"/>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Add Image">
    <p:bg bwMode="grayWhite">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2"/>
                </a:solidFill>
                <a:latin typeface="Trebuchet MS" panose="020B070302020209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Picture Placeholder 4">
            <a:extLst>
              <a:ext uri="{FF2B5EF4-FFF2-40B4-BE49-F238E27FC236}">
                <a16:creationId xmlns:a16="http://schemas.microsoft.com/office/drawing/2014/main" id="{99589CF8-D81C-414B-8E64-B34223E87508}"/>
              </a:ext>
            </a:extLst>
          </p:cNvPr>
          <p:cNvSpPr>
            <a:spLocks noGrp="1"/>
          </p:cNvSpPr>
          <p:nvPr>
            <p:ph type="pic" sz="quarter" idx="10" hasCustomPrompt="1"/>
          </p:nvPr>
        </p:nvSpPr>
        <p:spPr>
          <a:xfrm>
            <a:off x="-12189" y="-32658"/>
            <a:ext cx="12225688" cy="3222347"/>
          </a:xfrm>
          <a:custGeom>
            <a:avLst/>
            <a:gdLst>
              <a:gd name="connsiteX0" fmla="*/ 0 w 12191998"/>
              <a:gd name="connsiteY0" fmla="*/ 0 h 6858000"/>
              <a:gd name="connsiteX1" fmla="*/ 11048975 w 12191998"/>
              <a:gd name="connsiteY1" fmla="*/ 0 h 6858000"/>
              <a:gd name="connsiteX2" fmla="*/ 12191998 w 12191998"/>
              <a:gd name="connsiteY2" fmla="*/ 1143023 h 6858000"/>
              <a:gd name="connsiteX3" fmla="*/ 12191998 w 12191998"/>
              <a:gd name="connsiteY3" fmla="*/ 6858000 h 6858000"/>
              <a:gd name="connsiteX4" fmla="*/ 0 w 12191998"/>
              <a:gd name="connsiteY4" fmla="*/ 6858000 h 6858000"/>
              <a:gd name="connsiteX5" fmla="*/ 0 w 12191998"/>
              <a:gd name="connsiteY5" fmla="*/ 0 h 6858000"/>
              <a:gd name="connsiteX0" fmla="*/ 0 w 12195023"/>
              <a:gd name="connsiteY0" fmla="*/ 12192 h 6870192"/>
              <a:gd name="connsiteX1" fmla="*/ 12195023 w 12195023"/>
              <a:gd name="connsiteY1" fmla="*/ 0 h 6870192"/>
              <a:gd name="connsiteX2" fmla="*/ 12191998 w 12195023"/>
              <a:gd name="connsiteY2" fmla="*/ 1155215 h 6870192"/>
              <a:gd name="connsiteX3" fmla="*/ 12191998 w 12195023"/>
              <a:gd name="connsiteY3" fmla="*/ 6870192 h 6870192"/>
              <a:gd name="connsiteX4" fmla="*/ 0 w 12195023"/>
              <a:gd name="connsiteY4" fmla="*/ 6870192 h 6870192"/>
              <a:gd name="connsiteX5" fmla="*/ 0 w 12195023"/>
              <a:gd name="connsiteY5" fmla="*/ 12192 h 6870192"/>
              <a:gd name="connsiteX0" fmla="*/ 0 w 12195023"/>
              <a:gd name="connsiteY0" fmla="*/ 12192 h 6870192"/>
              <a:gd name="connsiteX1" fmla="*/ 12195023 w 12195023"/>
              <a:gd name="connsiteY1" fmla="*/ 0 h 6870192"/>
              <a:gd name="connsiteX2" fmla="*/ 12191998 w 12195023"/>
              <a:gd name="connsiteY2" fmla="*/ 1155215 h 6870192"/>
              <a:gd name="connsiteX3" fmla="*/ 5974078 w 12195023"/>
              <a:gd name="connsiteY3" fmla="*/ 6870192 h 6870192"/>
              <a:gd name="connsiteX4" fmla="*/ 0 w 12195023"/>
              <a:gd name="connsiteY4" fmla="*/ 6870192 h 6870192"/>
              <a:gd name="connsiteX5" fmla="*/ 0 w 12195023"/>
              <a:gd name="connsiteY5" fmla="*/ 12192 h 6870192"/>
              <a:gd name="connsiteX0" fmla="*/ 0 w 12204254"/>
              <a:gd name="connsiteY0" fmla="*/ 12192 h 6870192"/>
              <a:gd name="connsiteX1" fmla="*/ 12195023 w 12204254"/>
              <a:gd name="connsiteY1" fmla="*/ 0 h 6870192"/>
              <a:gd name="connsiteX2" fmla="*/ 12204190 w 12204254"/>
              <a:gd name="connsiteY2" fmla="*/ 5702831 h 6870192"/>
              <a:gd name="connsiteX3" fmla="*/ 5974078 w 12204254"/>
              <a:gd name="connsiteY3" fmla="*/ 6870192 h 6870192"/>
              <a:gd name="connsiteX4" fmla="*/ 0 w 12204254"/>
              <a:gd name="connsiteY4" fmla="*/ 6870192 h 6870192"/>
              <a:gd name="connsiteX5" fmla="*/ 0 w 12204254"/>
              <a:gd name="connsiteY5" fmla="*/ 12192 h 6870192"/>
              <a:gd name="connsiteX0" fmla="*/ 0 w 12204254"/>
              <a:gd name="connsiteY0" fmla="*/ 12192 h 6894576"/>
              <a:gd name="connsiteX1" fmla="*/ 12195023 w 12204254"/>
              <a:gd name="connsiteY1" fmla="*/ 0 h 6894576"/>
              <a:gd name="connsiteX2" fmla="*/ 12204190 w 12204254"/>
              <a:gd name="connsiteY2" fmla="*/ 5702831 h 6894576"/>
              <a:gd name="connsiteX3" fmla="*/ 3572254 w 12204254"/>
              <a:gd name="connsiteY3" fmla="*/ 6894576 h 6894576"/>
              <a:gd name="connsiteX4" fmla="*/ 0 w 12204254"/>
              <a:gd name="connsiteY4" fmla="*/ 6870192 h 6894576"/>
              <a:gd name="connsiteX5" fmla="*/ 0 w 12204254"/>
              <a:gd name="connsiteY5" fmla="*/ 12192 h 6894576"/>
              <a:gd name="connsiteX0" fmla="*/ 12192 w 12216446"/>
              <a:gd name="connsiteY0" fmla="*/ 12192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12192 w 12216446"/>
              <a:gd name="connsiteY5" fmla="*/ 12192 h 6894576"/>
              <a:gd name="connsiteX0" fmla="*/ 2956 w 12216446"/>
              <a:gd name="connsiteY0" fmla="*/ 1647028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2956 w 12216446"/>
              <a:gd name="connsiteY5" fmla="*/ 1647028 h 6894576"/>
              <a:gd name="connsiteX0" fmla="*/ 2956 w 12216681"/>
              <a:gd name="connsiteY0" fmla="*/ 0 h 5247548"/>
              <a:gd name="connsiteX1" fmla="*/ 12216452 w 12216681"/>
              <a:gd name="connsiteY1" fmla="*/ 52463 h 5247548"/>
              <a:gd name="connsiteX2" fmla="*/ 12216382 w 12216681"/>
              <a:gd name="connsiteY2" fmla="*/ 4055803 h 5247548"/>
              <a:gd name="connsiteX3" fmla="*/ 3584446 w 12216681"/>
              <a:gd name="connsiteY3" fmla="*/ 5247548 h 5247548"/>
              <a:gd name="connsiteX4" fmla="*/ 0 w 12216681"/>
              <a:gd name="connsiteY4" fmla="*/ 4077116 h 5247548"/>
              <a:gd name="connsiteX5" fmla="*/ 2956 w 12216681"/>
              <a:gd name="connsiteY5" fmla="*/ 0 h 5247548"/>
              <a:gd name="connsiteX0" fmla="*/ 2956 w 12216681"/>
              <a:gd name="connsiteY0" fmla="*/ 0 h 5201367"/>
              <a:gd name="connsiteX1" fmla="*/ 12216452 w 12216681"/>
              <a:gd name="connsiteY1" fmla="*/ 6282 h 5201367"/>
              <a:gd name="connsiteX2" fmla="*/ 12216382 w 12216681"/>
              <a:gd name="connsiteY2" fmla="*/ 4009622 h 5201367"/>
              <a:gd name="connsiteX3" fmla="*/ 3584446 w 12216681"/>
              <a:gd name="connsiteY3" fmla="*/ 5201367 h 5201367"/>
              <a:gd name="connsiteX4" fmla="*/ 0 w 12216681"/>
              <a:gd name="connsiteY4" fmla="*/ 4030935 h 5201367"/>
              <a:gd name="connsiteX5" fmla="*/ 2956 w 12216681"/>
              <a:gd name="connsiteY5" fmla="*/ 0 h 5201367"/>
              <a:gd name="connsiteX0" fmla="*/ 2956 w 12216681"/>
              <a:gd name="connsiteY0" fmla="*/ 1379172 h 5195085"/>
              <a:gd name="connsiteX1" fmla="*/ 12216452 w 12216681"/>
              <a:gd name="connsiteY1" fmla="*/ 0 h 5195085"/>
              <a:gd name="connsiteX2" fmla="*/ 12216382 w 12216681"/>
              <a:gd name="connsiteY2" fmla="*/ 4003340 h 5195085"/>
              <a:gd name="connsiteX3" fmla="*/ 3584446 w 12216681"/>
              <a:gd name="connsiteY3" fmla="*/ 5195085 h 5195085"/>
              <a:gd name="connsiteX4" fmla="*/ 0 w 12216681"/>
              <a:gd name="connsiteY4" fmla="*/ 4024653 h 5195085"/>
              <a:gd name="connsiteX5" fmla="*/ 2956 w 12216681"/>
              <a:gd name="connsiteY5" fmla="*/ 1379172 h 5195085"/>
              <a:gd name="connsiteX0" fmla="*/ 2956 w 12225688"/>
              <a:gd name="connsiteY0" fmla="*/ 67609 h 3883522"/>
              <a:gd name="connsiteX1" fmla="*/ 12225688 w 12225688"/>
              <a:gd name="connsiteY1" fmla="*/ 0 h 3883522"/>
              <a:gd name="connsiteX2" fmla="*/ 12216382 w 12225688"/>
              <a:gd name="connsiteY2" fmla="*/ 2691777 h 3883522"/>
              <a:gd name="connsiteX3" fmla="*/ 3584446 w 12225688"/>
              <a:gd name="connsiteY3" fmla="*/ 3883522 h 3883522"/>
              <a:gd name="connsiteX4" fmla="*/ 0 w 12225688"/>
              <a:gd name="connsiteY4" fmla="*/ 2713090 h 3883522"/>
              <a:gd name="connsiteX5" fmla="*/ 2956 w 12225688"/>
              <a:gd name="connsiteY5" fmla="*/ 67609 h 3883522"/>
              <a:gd name="connsiteX0" fmla="*/ 2956 w 12225688"/>
              <a:gd name="connsiteY0" fmla="*/ 0 h 3899040"/>
              <a:gd name="connsiteX1" fmla="*/ 12225688 w 12225688"/>
              <a:gd name="connsiteY1" fmla="*/ 15518 h 3899040"/>
              <a:gd name="connsiteX2" fmla="*/ 12216382 w 12225688"/>
              <a:gd name="connsiteY2" fmla="*/ 2707295 h 3899040"/>
              <a:gd name="connsiteX3" fmla="*/ 3584446 w 12225688"/>
              <a:gd name="connsiteY3" fmla="*/ 3899040 h 3899040"/>
              <a:gd name="connsiteX4" fmla="*/ 0 w 12225688"/>
              <a:gd name="connsiteY4" fmla="*/ 2728608 h 3899040"/>
              <a:gd name="connsiteX5" fmla="*/ 2956 w 12225688"/>
              <a:gd name="connsiteY5" fmla="*/ 0 h 389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688" h="3899040">
                <a:moveTo>
                  <a:pt x="2956" y="0"/>
                </a:moveTo>
                <a:lnTo>
                  <a:pt x="12225688" y="15518"/>
                </a:lnTo>
                <a:cubicBezTo>
                  <a:pt x="12224680" y="400590"/>
                  <a:pt x="12217390" y="2322223"/>
                  <a:pt x="12216382" y="2707295"/>
                </a:cubicBezTo>
                <a:lnTo>
                  <a:pt x="3584446" y="3899040"/>
                </a:lnTo>
                <a:lnTo>
                  <a:pt x="0" y="2728608"/>
                </a:lnTo>
                <a:cubicBezTo>
                  <a:pt x="985" y="1369569"/>
                  <a:pt x="1971" y="1359039"/>
                  <a:pt x="2956" y="0"/>
                </a:cubicBezTo>
                <a:close/>
              </a:path>
            </a:pathLst>
          </a:custGeom>
        </p:spPr>
        <p:txBody>
          <a:bodyPr anchor="ctr"/>
          <a:lstStyle>
            <a:lvl1pPr marL="0" indent="0" algn="ctr">
              <a:buNone/>
              <a:defRPr/>
            </a:lvl1pPr>
          </a:lstStyle>
          <a:p>
            <a:r>
              <a:rPr lang="en-US" dirty="0"/>
              <a:t>Insert photo by clicking on the image icon</a:t>
            </a:r>
          </a:p>
        </p:txBody>
      </p:sp>
      <p:pic>
        <p:nvPicPr>
          <p:cNvPr id="8" name="Picture 7" descr="A picture containing text&#10;&#10;Description automatically generated">
            <a:extLst>
              <a:ext uri="{FF2B5EF4-FFF2-40B4-BE49-F238E27FC236}">
                <a16:creationId xmlns:a16="http://schemas.microsoft.com/office/drawing/2014/main" id="{EFF33FB4-592B-EA42-8817-C852A19F15B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10" name="Slide Number Placeholder 5">
            <a:extLst>
              <a:ext uri="{FF2B5EF4-FFF2-40B4-BE49-F238E27FC236}">
                <a16:creationId xmlns:a16="http://schemas.microsoft.com/office/drawing/2014/main" id="{521552D7-E3DD-DF40-BA70-38D5F26ECD94}"/>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dirty="0">
                <a:solidFill>
                  <a:schemeClr val="bg2"/>
                </a:solidFill>
                <a:effectLst/>
                <a:latin typeface="+mn-lt"/>
                <a:ea typeface="+mn-ea"/>
                <a:cs typeface="+mn-cs"/>
              </a:rPr>
              <a:t>GILEAD and the GILEAD logo are trademarks of Gilead Sciences, Inc. </a:t>
            </a:r>
            <a:endParaRPr lang="en-US" b="0" i="0" dirty="0">
              <a:latin typeface="Trebuchet MS" panose="020B0703020202090204" pitchFamily="34" charset="0"/>
            </a:endParaRPr>
          </a:p>
        </p:txBody>
      </p:sp>
    </p:spTree>
    <p:extLst>
      <p:ext uri="{BB962C8B-B14F-4D97-AF65-F5344CB8AC3E}">
        <p14:creationId xmlns:p14="http://schemas.microsoft.com/office/powerpoint/2010/main" val="4251202129"/>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List Blue">
    <p:spTree>
      <p:nvGrpSpPr>
        <p:cNvPr id="1" name=""/>
        <p:cNvGrpSpPr/>
        <p:nvPr/>
      </p:nvGrpSpPr>
      <p:grpSpPr>
        <a:xfrm>
          <a:off x="0" y="0"/>
          <a:ext cx="0" cy="0"/>
          <a:chOff x="0" y="0"/>
          <a:chExt cx="0" cy="0"/>
        </a:xfrm>
      </p:grpSpPr>
      <p:sp>
        <p:nvSpPr>
          <p:cNvPr id="8" name="Pentagon 8">
            <a:extLst>
              <a:ext uri="{FF2B5EF4-FFF2-40B4-BE49-F238E27FC236}">
                <a16:creationId xmlns:a16="http://schemas.microsoft.com/office/drawing/2014/main" id="{CE70175B-DE62-A347-AC2C-989EFCA60D04}"/>
              </a:ext>
            </a:extLst>
          </p:cNvPr>
          <p:cNvSpPr>
            <a:spLocks noChangeAspect="1"/>
          </p:cNvSpPr>
          <p:nvPr userDrawn="1"/>
        </p:nvSpPr>
        <p:spPr bwMode="white">
          <a:xfrm>
            <a:off x="-34400" y="-24384"/>
            <a:ext cx="4641372" cy="6897928"/>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 name="connsiteX0" fmla="*/ 2060448 w 6336060"/>
              <a:gd name="connsiteY0" fmla="*/ 134112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2060448 w 6336060"/>
              <a:gd name="connsiteY5" fmla="*/ 134112 h 6885736"/>
              <a:gd name="connsiteX0" fmla="*/ 1694688 w 6336060"/>
              <a:gd name="connsiteY0" fmla="*/ 0 h 6897928"/>
              <a:gd name="connsiteX1" fmla="*/ 5622382 w 6336060"/>
              <a:gd name="connsiteY1" fmla="*/ 12192 h 6897928"/>
              <a:gd name="connsiteX2" fmla="*/ 6336060 w 6336060"/>
              <a:gd name="connsiteY2" fmla="*/ 2101748 h 6897928"/>
              <a:gd name="connsiteX3" fmla="*/ 5622382 w 6336060"/>
              <a:gd name="connsiteY3" fmla="*/ 6897928 h 6897928"/>
              <a:gd name="connsiteX4" fmla="*/ 0 w 6336060"/>
              <a:gd name="connsiteY4" fmla="*/ 6897928 h 6897928"/>
              <a:gd name="connsiteX5" fmla="*/ 1694688 w 6336060"/>
              <a:gd name="connsiteY5" fmla="*/ 0 h 6897928"/>
              <a:gd name="connsiteX0" fmla="*/ 0 w 4641372"/>
              <a:gd name="connsiteY0" fmla="*/ 0 h 6897928"/>
              <a:gd name="connsiteX1" fmla="*/ 3927694 w 4641372"/>
              <a:gd name="connsiteY1" fmla="*/ 12192 h 6897928"/>
              <a:gd name="connsiteX2" fmla="*/ 4641372 w 4641372"/>
              <a:gd name="connsiteY2" fmla="*/ 2101748 h 6897928"/>
              <a:gd name="connsiteX3" fmla="*/ 3927694 w 4641372"/>
              <a:gd name="connsiteY3" fmla="*/ 6897928 h 6897928"/>
              <a:gd name="connsiteX4" fmla="*/ 12192 w 4641372"/>
              <a:gd name="connsiteY4" fmla="*/ 6897928 h 6897928"/>
              <a:gd name="connsiteX5" fmla="*/ 0 w 4641372"/>
              <a:gd name="connsiteY5" fmla="*/ 0 h 689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1372" h="6897928">
                <a:moveTo>
                  <a:pt x="0" y="0"/>
                </a:moveTo>
                <a:lnTo>
                  <a:pt x="3927694" y="12192"/>
                </a:lnTo>
                <a:lnTo>
                  <a:pt x="4641372" y="2101748"/>
                </a:lnTo>
                <a:lnTo>
                  <a:pt x="3927694" y="6897928"/>
                </a:lnTo>
                <a:lnTo>
                  <a:pt x="12192" y="6897928"/>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397294" cy="4351338"/>
          </a:xfrm>
          <a:prstGeom prst="rect">
            <a:avLst/>
          </a:prstGeom>
        </p:spPr>
        <p:txBody>
          <a:bodyPr anchor="ctr">
            <a:noAutofit/>
          </a:bodyPr>
          <a:lstStyle>
            <a:lvl1pPr marL="0" indent="0" algn="l">
              <a:lnSpc>
                <a:spcPct val="80000"/>
              </a:lnSpc>
              <a:buNone/>
              <a:defRPr sz="4000" b="1" i="0" spc="300">
                <a:solidFill>
                  <a:schemeClr val="bg1"/>
                </a:solidFill>
                <a:latin typeface="Trebuchet MS" panose="020B0703020202090204" pitchFamily="34" charset="0"/>
                <a:cs typeface="Rockwell Nova Light" panose="02060303020205020403" pitchFamily="18" charset="0"/>
              </a:defRPr>
            </a:lvl1pPr>
          </a:lstStyle>
          <a:p>
            <a:pPr lvl="0"/>
            <a:r>
              <a:rPr lang="en-US" dirty="0"/>
              <a:t>Edit master text styles</a:t>
            </a:r>
          </a:p>
        </p:txBody>
      </p:sp>
      <p:sp>
        <p:nvSpPr>
          <p:cNvPr id="4" name="Text Placeholder 3">
            <a:extLst>
              <a:ext uri="{FF2B5EF4-FFF2-40B4-BE49-F238E27FC236}">
                <a16:creationId xmlns:a16="http://schemas.microsoft.com/office/drawing/2014/main" id="{9A98B483-34A7-2249-A3C4-7DDD6074A162}"/>
              </a:ext>
            </a:extLst>
          </p:cNvPr>
          <p:cNvSpPr>
            <a:spLocks noGrp="1"/>
          </p:cNvSpPr>
          <p:nvPr>
            <p:ph type="body" sz="quarter" idx="10"/>
          </p:nvPr>
        </p:nvSpPr>
        <p:spPr>
          <a:xfrm>
            <a:off x="5337109" y="292100"/>
            <a:ext cx="6612003" cy="5654675"/>
          </a:xfrm>
          <a:prstGeom prst="rect">
            <a:avLst/>
          </a:prstGeom>
        </p:spPr>
        <p:txBody>
          <a:bodyPr anchor="ctr">
            <a:noAutofit/>
          </a:bodyPr>
          <a:lstStyle>
            <a:lvl1pPr>
              <a:defRPr sz="2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A picture containing text&#10;&#10;Description automatically generated">
            <a:extLst>
              <a:ext uri="{FF2B5EF4-FFF2-40B4-BE49-F238E27FC236}">
                <a16:creationId xmlns:a16="http://schemas.microsoft.com/office/drawing/2014/main" id="{BE5DCA31-1BBA-5C47-AED6-24579BD463B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586217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List Red">
    <p:spTree>
      <p:nvGrpSpPr>
        <p:cNvPr id="1" name=""/>
        <p:cNvGrpSpPr/>
        <p:nvPr/>
      </p:nvGrpSpPr>
      <p:grpSpPr>
        <a:xfrm>
          <a:off x="0" y="0"/>
          <a:ext cx="0" cy="0"/>
          <a:chOff x="0" y="0"/>
          <a:chExt cx="0" cy="0"/>
        </a:xfrm>
      </p:grpSpPr>
      <p:sp>
        <p:nvSpPr>
          <p:cNvPr id="8" name="Pentagon 8">
            <a:extLst>
              <a:ext uri="{FF2B5EF4-FFF2-40B4-BE49-F238E27FC236}">
                <a16:creationId xmlns:a16="http://schemas.microsoft.com/office/drawing/2014/main" id="{CE70175B-DE62-A347-AC2C-989EFCA60D04}"/>
              </a:ext>
            </a:extLst>
          </p:cNvPr>
          <p:cNvSpPr>
            <a:spLocks noChangeAspect="1"/>
          </p:cNvSpPr>
          <p:nvPr userDrawn="1"/>
        </p:nvSpPr>
        <p:spPr bwMode="white">
          <a:xfrm>
            <a:off x="-34400" y="-24384"/>
            <a:ext cx="4641372" cy="6897928"/>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 name="connsiteX0" fmla="*/ 2060448 w 6336060"/>
              <a:gd name="connsiteY0" fmla="*/ 134112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2060448 w 6336060"/>
              <a:gd name="connsiteY5" fmla="*/ 134112 h 6885736"/>
              <a:gd name="connsiteX0" fmla="*/ 1694688 w 6336060"/>
              <a:gd name="connsiteY0" fmla="*/ 0 h 6897928"/>
              <a:gd name="connsiteX1" fmla="*/ 5622382 w 6336060"/>
              <a:gd name="connsiteY1" fmla="*/ 12192 h 6897928"/>
              <a:gd name="connsiteX2" fmla="*/ 6336060 w 6336060"/>
              <a:gd name="connsiteY2" fmla="*/ 2101748 h 6897928"/>
              <a:gd name="connsiteX3" fmla="*/ 5622382 w 6336060"/>
              <a:gd name="connsiteY3" fmla="*/ 6897928 h 6897928"/>
              <a:gd name="connsiteX4" fmla="*/ 0 w 6336060"/>
              <a:gd name="connsiteY4" fmla="*/ 6897928 h 6897928"/>
              <a:gd name="connsiteX5" fmla="*/ 1694688 w 6336060"/>
              <a:gd name="connsiteY5" fmla="*/ 0 h 6897928"/>
              <a:gd name="connsiteX0" fmla="*/ 0 w 4641372"/>
              <a:gd name="connsiteY0" fmla="*/ 0 h 6897928"/>
              <a:gd name="connsiteX1" fmla="*/ 3927694 w 4641372"/>
              <a:gd name="connsiteY1" fmla="*/ 12192 h 6897928"/>
              <a:gd name="connsiteX2" fmla="*/ 4641372 w 4641372"/>
              <a:gd name="connsiteY2" fmla="*/ 2101748 h 6897928"/>
              <a:gd name="connsiteX3" fmla="*/ 3927694 w 4641372"/>
              <a:gd name="connsiteY3" fmla="*/ 6897928 h 6897928"/>
              <a:gd name="connsiteX4" fmla="*/ 12192 w 4641372"/>
              <a:gd name="connsiteY4" fmla="*/ 6897928 h 6897928"/>
              <a:gd name="connsiteX5" fmla="*/ 0 w 4641372"/>
              <a:gd name="connsiteY5" fmla="*/ 0 h 689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1372" h="6897928">
                <a:moveTo>
                  <a:pt x="0" y="0"/>
                </a:moveTo>
                <a:lnTo>
                  <a:pt x="3927694" y="12192"/>
                </a:lnTo>
                <a:lnTo>
                  <a:pt x="4641372" y="2101748"/>
                </a:lnTo>
                <a:lnTo>
                  <a:pt x="3927694" y="6897928"/>
                </a:lnTo>
                <a:lnTo>
                  <a:pt x="12192" y="6897928"/>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397294" cy="4351338"/>
          </a:xfrm>
          <a:prstGeom prst="rect">
            <a:avLst/>
          </a:prstGeom>
        </p:spPr>
        <p:txBody>
          <a:bodyPr anchor="ctr">
            <a:noAutofit/>
          </a:bodyPr>
          <a:lstStyle>
            <a:lvl1pPr marL="0" indent="0" algn="l">
              <a:lnSpc>
                <a:spcPct val="80000"/>
              </a:lnSpc>
              <a:buNone/>
              <a:defRPr sz="4000" b="1" i="0" spc="300">
                <a:solidFill>
                  <a:schemeClr val="bg1"/>
                </a:solidFill>
                <a:latin typeface="Trebuchet MS" panose="020B0703020202090204" pitchFamily="34" charset="0"/>
                <a:cs typeface="Rockwell Nova Light" panose="02060303020205020403" pitchFamily="18" charset="0"/>
              </a:defRPr>
            </a:lvl1pPr>
          </a:lstStyle>
          <a:p>
            <a:pPr lvl="0"/>
            <a:r>
              <a:rPr lang="en-US" dirty="0"/>
              <a:t>Edit master text styles</a:t>
            </a:r>
          </a:p>
        </p:txBody>
      </p:sp>
      <p:sp>
        <p:nvSpPr>
          <p:cNvPr id="4" name="Text Placeholder 3">
            <a:extLst>
              <a:ext uri="{FF2B5EF4-FFF2-40B4-BE49-F238E27FC236}">
                <a16:creationId xmlns:a16="http://schemas.microsoft.com/office/drawing/2014/main" id="{9A98B483-34A7-2249-A3C4-7DDD6074A162}"/>
              </a:ext>
            </a:extLst>
          </p:cNvPr>
          <p:cNvSpPr>
            <a:spLocks noGrp="1"/>
          </p:cNvSpPr>
          <p:nvPr>
            <p:ph type="body" sz="quarter" idx="10"/>
          </p:nvPr>
        </p:nvSpPr>
        <p:spPr>
          <a:xfrm>
            <a:off x="5337109" y="292100"/>
            <a:ext cx="6612003" cy="5654675"/>
          </a:xfrm>
          <a:prstGeom prst="rect">
            <a:avLst/>
          </a:prstGeom>
        </p:spPr>
        <p:txBody>
          <a:bodyPr anchor="ctr">
            <a:noAutofit/>
          </a:bodyPr>
          <a:lstStyle>
            <a:lvl1pPr>
              <a:defRPr sz="2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descr="A picture containing text&#10;&#10;Description automatically generated">
            <a:extLst>
              <a:ext uri="{FF2B5EF4-FFF2-40B4-BE49-F238E27FC236}">
                <a16:creationId xmlns:a16="http://schemas.microsoft.com/office/drawing/2014/main" id="{A5AFEAA1-B272-E545-BA56-83983BF4F44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1562059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ey Point-Blue BG">
    <p:spTree>
      <p:nvGrpSpPr>
        <p:cNvPr id="1" name=""/>
        <p:cNvGrpSpPr/>
        <p:nvPr/>
      </p:nvGrpSpPr>
      <p:grpSpPr>
        <a:xfrm>
          <a:off x="0" y="0"/>
          <a:ext cx="0" cy="0"/>
          <a:chOff x="0" y="0"/>
          <a:chExt cx="0" cy="0"/>
        </a:xfrm>
      </p:grpSpPr>
      <p:sp>
        <p:nvSpPr>
          <p:cNvPr id="11" name="Snip Same Side Corner Rectangle 9">
            <a:extLst>
              <a:ext uri="{FF2B5EF4-FFF2-40B4-BE49-F238E27FC236}">
                <a16:creationId xmlns:a16="http://schemas.microsoft.com/office/drawing/2014/main" id="{24A32D0D-3DF4-DD47-B14E-3B204C1AA9C2}"/>
              </a:ext>
            </a:extLst>
          </p:cNvPr>
          <p:cNvSpPr/>
          <p:nvPr userDrawn="1"/>
        </p:nvSpPr>
        <p:spPr>
          <a:xfrm rot="10800000">
            <a:off x="-9237" y="-31472"/>
            <a:ext cx="12219709" cy="6897738"/>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19709" h="6897738">
                <a:moveTo>
                  <a:pt x="8603213" y="0"/>
                </a:moveTo>
                <a:lnTo>
                  <a:pt x="8610578" y="2793"/>
                </a:lnTo>
                <a:lnTo>
                  <a:pt x="12219709" y="1182761"/>
                </a:lnTo>
                <a:lnTo>
                  <a:pt x="12219709" y="6897738"/>
                </a:lnTo>
                <a:lnTo>
                  <a:pt x="12219709" y="6897738"/>
                </a:lnTo>
                <a:lnTo>
                  <a:pt x="0" y="6897738"/>
                </a:lnTo>
                <a:lnTo>
                  <a:pt x="0" y="6897738"/>
                </a:lnTo>
                <a:lnTo>
                  <a:pt x="0" y="1182761"/>
                </a:lnTo>
                <a:lnTo>
                  <a:pt x="860321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bg1"/>
                </a:solidFill>
                <a:latin typeface="Trebuchet MS" panose="020B0703020202090204" pitchFamily="34" charset="0"/>
              </a:defRPr>
            </a:lvl1pPr>
          </a:lstStyle>
          <a:p>
            <a:r>
              <a:rPr lang="en-US" dirty="0"/>
              <a:t>Click to edit master title style</a:t>
            </a:r>
          </a:p>
        </p:txBody>
      </p:sp>
      <p:pic>
        <p:nvPicPr>
          <p:cNvPr id="6" name="Picture 5" descr="A picture containing text&#10;&#10;Description automatically generated">
            <a:extLst>
              <a:ext uri="{FF2B5EF4-FFF2-40B4-BE49-F238E27FC236}">
                <a16:creationId xmlns:a16="http://schemas.microsoft.com/office/drawing/2014/main" id="{3CE310BB-EC76-0A4F-82B7-208CE74EB5C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3056086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ey Point-Red BG">
    <p:spTree>
      <p:nvGrpSpPr>
        <p:cNvPr id="1" name=""/>
        <p:cNvGrpSpPr/>
        <p:nvPr/>
      </p:nvGrpSpPr>
      <p:grpSpPr>
        <a:xfrm>
          <a:off x="0" y="0"/>
          <a:ext cx="0" cy="0"/>
          <a:chOff x="0" y="0"/>
          <a:chExt cx="0" cy="0"/>
        </a:xfrm>
      </p:grpSpPr>
      <p:sp>
        <p:nvSpPr>
          <p:cNvPr id="11" name="Snip Same Side Corner Rectangle 9">
            <a:extLst>
              <a:ext uri="{FF2B5EF4-FFF2-40B4-BE49-F238E27FC236}">
                <a16:creationId xmlns:a16="http://schemas.microsoft.com/office/drawing/2014/main" id="{24A32D0D-3DF4-DD47-B14E-3B204C1AA9C2}"/>
              </a:ext>
            </a:extLst>
          </p:cNvPr>
          <p:cNvSpPr/>
          <p:nvPr userDrawn="1"/>
        </p:nvSpPr>
        <p:spPr>
          <a:xfrm rot="10800000">
            <a:off x="-13855" y="-19869"/>
            <a:ext cx="12219709" cy="6897738"/>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19709" h="6897738">
                <a:moveTo>
                  <a:pt x="8603213" y="0"/>
                </a:moveTo>
                <a:lnTo>
                  <a:pt x="8610578" y="2793"/>
                </a:lnTo>
                <a:lnTo>
                  <a:pt x="12219709" y="1182761"/>
                </a:lnTo>
                <a:lnTo>
                  <a:pt x="12219709" y="6897738"/>
                </a:lnTo>
                <a:lnTo>
                  <a:pt x="12219709" y="6897738"/>
                </a:lnTo>
                <a:lnTo>
                  <a:pt x="0" y="6897738"/>
                </a:lnTo>
                <a:lnTo>
                  <a:pt x="0" y="6897738"/>
                </a:lnTo>
                <a:lnTo>
                  <a:pt x="0" y="1182761"/>
                </a:lnTo>
                <a:lnTo>
                  <a:pt x="8603213"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bg1"/>
                </a:solidFill>
                <a:latin typeface="Trebuchet MS" panose="020B0703020202090204" pitchFamily="34" charset="0"/>
              </a:defRPr>
            </a:lvl1pPr>
          </a:lstStyle>
          <a:p>
            <a:r>
              <a:rPr lang="en-US" dirty="0"/>
              <a:t>Click to edit master title style</a:t>
            </a:r>
          </a:p>
        </p:txBody>
      </p:sp>
      <p:pic>
        <p:nvPicPr>
          <p:cNvPr id="6" name="Picture 5" descr="A picture containing text&#10;&#10;Description automatically generated">
            <a:extLst>
              <a:ext uri="{FF2B5EF4-FFF2-40B4-BE49-F238E27FC236}">
                <a16:creationId xmlns:a16="http://schemas.microsoft.com/office/drawing/2014/main" id="{C482021D-608E-5E46-B147-05832E43AE4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0672766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ey Point-R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tx2"/>
                </a:solidFill>
                <a:latin typeface="Trebuchet MS" panose="020B0703020202090204" pitchFamily="34" charset="0"/>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877699E1-1B62-794A-94A6-68D1CF83160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latin typeface="Trebuchet MS" panose="020B0703020202090204" pitchFamily="34" charset="0"/>
              </a:rPr>
              <a:t>Confidential – Internal Use Only</a:t>
            </a:r>
          </a:p>
        </p:txBody>
      </p:sp>
      <p:pic>
        <p:nvPicPr>
          <p:cNvPr id="5" name="Picture 4" descr="A picture containing text&#10;&#10;Description automatically generated">
            <a:extLst>
              <a:ext uri="{FF2B5EF4-FFF2-40B4-BE49-F238E27FC236}">
                <a16:creationId xmlns:a16="http://schemas.microsoft.com/office/drawing/2014/main" id="{1A11D974-5129-7B42-9397-65A5982E58A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22397354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ey Point-Blu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accent1"/>
                </a:solidFill>
                <a:latin typeface="Trebuchet MS" panose="020B0703020202090204" pitchFamily="34" charset="0"/>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877699E1-1B62-794A-94A6-68D1CF83160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latin typeface="Trebuchet MS" panose="020B0703020202090204" pitchFamily="34" charset="0"/>
              </a:rPr>
              <a:t>Confidential – Internal Use Only</a:t>
            </a:r>
          </a:p>
        </p:txBody>
      </p:sp>
      <p:pic>
        <p:nvPicPr>
          <p:cNvPr id="5" name="Picture 4" descr="A picture containing text&#10;&#10;Description automatically generated">
            <a:extLst>
              <a:ext uri="{FF2B5EF4-FFF2-40B4-BE49-F238E27FC236}">
                <a16:creationId xmlns:a16="http://schemas.microsoft.com/office/drawing/2014/main" id="{0EB9C91B-632E-3243-B878-5265BEF6949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42694793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Divider Blue Gri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890869-419C-404C-A780-60070061C65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425" y="0"/>
            <a:ext cx="12195296" cy="6859854"/>
          </a:xfrm>
          <a:prstGeom prst="rect">
            <a:avLst/>
          </a:prstGeom>
        </p:spPr>
      </p:pic>
      <p:sp>
        <p:nvSpPr>
          <p:cNvPr id="5" name="Content Placeholder 2">
            <a:extLst>
              <a:ext uri="{FF2B5EF4-FFF2-40B4-BE49-F238E27FC236}">
                <a16:creationId xmlns:a16="http://schemas.microsoft.com/office/drawing/2014/main" id="{F1624BFA-3408-CB48-BB40-1B8DA80F0B94}"/>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accent1"/>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 </a:t>
            </a:r>
          </a:p>
        </p:txBody>
      </p:sp>
    </p:spTree>
    <p:extLst>
      <p:ext uri="{BB962C8B-B14F-4D97-AF65-F5344CB8AC3E}">
        <p14:creationId xmlns:p14="http://schemas.microsoft.com/office/powerpoint/2010/main" val="32990713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Divider Red Gri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56BEA39-B9F1-154B-A579-1CFB9CE600F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425" y="0"/>
            <a:ext cx="12195296" cy="6859854"/>
          </a:xfrm>
          <a:prstGeom prst="rect">
            <a:avLst/>
          </a:prstGeom>
        </p:spPr>
      </p:pic>
      <p:sp>
        <p:nvSpPr>
          <p:cNvPr id="4" name="Content Placeholder 2">
            <a:extLst>
              <a:ext uri="{FF2B5EF4-FFF2-40B4-BE49-F238E27FC236}">
                <a16:creationId xmlns:a16="http://schemas.microsoft.com/office/drawing/2014/main" id="{BE766F11-A0B8-5043-BD39-F5EBBCBBFB2E}"/>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tx2"/>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 </a:t>
            </a:r>
          </a:p>
        </p:txBody>
      </p:sp>
    </p:spTree>
    <p:extLst>
      <p:ext uri="{BB962C8B-B14F-4D97-AF65-F5344CB8AC3E}">
        <p14:creationId xmlns:p14="http://schemas.microsoft.com/office/powerpoint/2010/main" val="19651524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Point - Red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rgbClr val="C50F3C"/>
                </a:solidFill>
                <a:latin typeface="+mj-lt"/>
              </a:defRPr>
            </a:lvl1pPr>
          </a:lstStyle>
          <a:p>
            <a:r>
              <a:rPr lang="en-US"/>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23262354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Divider Blue ">
    <p:spTree>
      <p:nvGrpSpPr>
        <p:cNvPr id="1" name=""/>
        <p:cNvGrpSpPr/>
        <p:nvPr/>
      </p:nvGrpSpPr>
      <p:grpSpPr>
        <a:xfrm>
          <a:off x="0" y="0"/>
          <a:ext cx="0" cy="0"/>
          <a:chOff x="0" y="0"/>
          <a:chExt cx="0" cy="0"/>
        </a:xfrm>
      </p:grpSpPr>
      <p:sp>
        <p:nvSpPr>
          <p:cNvPr id="14" name="Picture Placeholder 4">
            <a:extLst>
              <a:ext uri="{FF2B5EF4-FFF2-40B4-BE49-F238E27FC236}">
                <a16:creationId xmlns:a16="http://schemas.microsoft.com/office/drawing/2014/main" id="{DC3FCFD4-8398-2441-BE44-A8DEC5D48792}"/>
              </a:ext>
            </a:extLst>
          </p:cNvPr>
          <p:cNvSpPr>
            <a:spLocks noGrp="1"/>
          </p:cNvSpPr>
          <p:nvPr>
            <p:ph type="pic" sz="quarter" idx="10" hasCustomPrompt="1"/>
          </p:nvPr>
        </p:nvSpPr>
        <p:spPr>
          <a:xfrm>
            <a:off x="2" y="0"/>
            <a:ext cx="12191998" cy="6858000"/>
          </a:xfrm>
          <a:prstGeom prst="rect">
            <a:avLst/>
          </a:prstGeom>
        </p:spPr>
        <p:txBody>
          <a:bodyPr anchor="ctr"/>
          <a:lstStyle>
            <a:lvl1pPr marL="0" indent="0" algn="r">
              <a:buNone/>
              <a:defRPr/>
            </a:lvl1pPr>
          </a:lstStyle>
          <a:p>
            <a:r>
              <a:rPr lang="en-US" dirty="0"/>
              <a:t>Insert photo by clicking on the image icon</a:t>
            </a:r>
          </a:p>
        </p:txBody>
      </p:sp>
      <p:sp>
        <p:nvSpPr>
          <p:cNvPr id="4" name="Content Placeholder 2">
            <a:extLst>
              <a:ext uri="{FF2B5EF4-FFF2-40B4-BE49-F238E27FC236}">
                <a16:creationId xmlns:a16="http://schemas.microsoft.com/office/drawing/2014/main" id="{E5181B7D-36C4-E247-A8BB-976A23D8CB6B}"/>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accent1"/>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 </a:t>
            </a:r>
          </a:p>
        </p:txBody>
      </p:sp>
    </p:spTree>
    <p:extLst>
      <p:ext uri="{BB962C8B-B14F-4D97-AF65-F5344CB8AC3E}">
        <p14:creationId xmlns:p14="http://schemas.microsoft.com/office/powerpoint/2010/main" val="829435123"/>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Divider Red">
    <p:spTree>
      <p:nvGrpSpPr>
        <p:cNvPr id="1" name=""/>
        <p:cNvGrpSpPr/>
        <p:nvPr/>
      </p:nvGrpSpPr>
      <p:grpSpPr>
        <a:xfrm>
          <a:off x="0" y="0"/>
          <a:ext cx="0" cy="0"/>
          <a:chOff x="0" y="0"/>
          <a:chExt cx="0" cy="0"/>
        </a:xfrm>
      </p:grpSpPr>
      <p:sp>
        <p:nvSpPr>
          <p:cNvPr id="14" name="Picture Placeholder 4">
            <a:extLst>
              <a:ext uri="{FF2B5EF4-FFF2-40B4-BE49-F238E27FC236}">
                <a16:creationId xmlns:a16="http://schemas.microsoft.com/office/drawing/2014/main" id="{DC3FCFD4-8398-2441-BE44-A8DEC5D48792}"/>
              </a:ext>
            </a:extLst>
          </p:cNvPr>
          <p:cNvSpPr>
            <a:spLocks noGrp="1"/>
          </p:cNvSpPr>
          <p:nvPr>
            <p:ph type="pic" sz="quarter" idx="10" hasCustomPrompt="1"/>
          </p:nvPr>
        </p:nvSpPr>
        <p:spPr>
          <a:xfrm>
            <a:off x="2" y="0"/>
            <a:ext cx="12191998" cy="6858000"/>
          </a:xfrm>
          <a:prstGeom prst="rect">
            <a:avLst/>
          </a:prstGeom>
        </p:spPr>
        <p:txBody>
          <a:bodyPr anchor="ctr"/>
          <a:lstStyle>
            <a:lvl1pPr marL="0" indent="0" algn="r">
              <a:buNone/>
              <a:defRPr/>
            </a:lvl1pPr>
          </a:lstStyle>
          <a:p>
            <a:r>
              <a:rPr lang="en-US" dirty="0"/>
              <a:t>Insert photo by clicking on the image icon</a:t>
            </a:r>
          </a:p>
        </p:txBody>
      </p:sp>
      <p:sp>
        <p:nvSpPr>
          <p:cNvPr id="4" name="Content Placeholder 2">
            <a:extLst>
              <a:ext uri="{FF2B5EF4-FFF2-40B4-BE49-F238E27FC236}">
                <a16:creationId xmlns:a16="http://schemas.microsoft.com/office/drawing/2014/main" id="{1D111DE1-BD25-8B4A-BEFC-769203F0F0C7}"/>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tx2"/>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 </a:t>
            </a:r>
          </a:p>
        </p:txBody>
      </p:sp>
    </p:spTree>
    <p:extLst>
      <p:ext uri="{BB962C8B-B14F-4D97-AF65-F5344CB8AC3E}">
        <p14:creationId xmlns:p14="http://schemas.microsoft.com/office/powerpoint/2010/main" val="1754735697"/>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3-Divider Blu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10E3402-48B3-4143-B616-3016ADBBD5D2}"/>
              </a:ext>
            </a:extLst>
          </p:cNvPr>
          <p:cNvSpPr>
            <a:spLocks noGrp="1"/>
          </p:cNvSpPr>
          <p:nvPr>
            <p:ph type="pic" sz="quarter" idx="12" hasCustomPrompt="1"/>
          </p:nvPr>
        </p:nvSpPr>
        <p:spPr>
          <a:xfrm>
            <a:off x="9060873" y="0"/>
            <a:ext cx="3131127" cy="6858000"/>
          </a:xfrm>
        </p:spPr>
        <p:txBody>
          <a:bodyPr/>
          <a:lstStyle/>
          <a:p>
            <a:r>
              <a:rPr lang="en-US" dirty="0"/>
              <a:t>Insert Picture</a:t>
            </a:r>
          </a:p>
        </p:txBody>
      </p:sp>
      <p:sp>
        <p:nvSpPr>
          <p:cNvPr id="14" name="Picture Placeholder 4">
            <a:extLst>
              <a:ext uri="{FF2B5EF4-FFF2-40B4-BE49-F238E27FC236}">
                <a16:creationId xmlns:a16="http://schemas.microsoft.com/office/drawing/2014/main" id="{DC3FCFD4-8398-2441-BE44-A8DEC5D48792}"/>
              </a:ext>
            </a:extLst>
          </p:cNvPr>
          <p:cNvSpPr>
            <a:spLocks noGrp="1"/>
          </p:cNvSpPr>
          <p:nvPr>
            <p:ph type="pic" sz="quarter" idx="10" hasCustomPrompt="1"/>
          </p:nvPr>
        </p:nvSpPr>
        <p:spPr>
          <a:xfrm>
            <a:off x="4713316" y="0"/>
            <a:ext cx="3430939"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r>
              <a:rPr lang="en-US" dirty="0"/>
              <a:t>Insert Picture</a:t>
            </a:r>
          </a:p>
        </p:txBody>
      </p:sp>
      <p:sp>
        <p:nvSpPr>
          <p:cNvPr id="7" name="Content Placeholder 2">
            <a:extLst>
              <a:ext uri="{FF2B5EF4-FFF2-40B4-BE49-F238E27FC236}">
                <a16:creationId xmlns:a16="http://schemas.microsoft.com/office/drawing/2014/main" id="{1537B446-C9D8-6D44-B058-43523B81DBB4}"/>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accent1"/>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 </a:t>
            </a:r>
          </a:p>
        </p:txBody>
      </p:sp>
      <p:sp>
        <p:nvSpPr>
          <p:cNvPr id="10" name="Picture Placeholder 4">
            <a:extLst>
              <a:ext uri="{FF2B5EF4-FFF2-40B4-BE49-F238E27FC236}">
                <a16:creationId xmlns:a16="http://schemas.microsoft.com/office/drawing/2014/main" id="{C908F25E-1A70-3543-A342-8DB155219B50}"/>
              </a:ext>
            </a:extLst>
          </p:cNvPr>
          <p:cNvSpPr>
            <a:spLocks noGrp="1"/>
          </p:cNvSpPr>
          <p:nvPr>
            <p:ph type="pic" sz="quarter" idx="13" hasCustomPrompt="1"/>
          </p:nvPr>
        </p:nvSpPr>
        <p:spPr>
          <a:xfrm>
            <a:off x="7005413" y="0"/>
            <a:ext cx="3470136"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r>
              <a:rPr lang="en-US" dirty="0"/>
              <a:t>Insert Picture</a:t>
            </a:r>
          </a:p>
        </p:txBody>
      </p:sp>
    </p:spTree>
    <p:extLst>
      <p:ext uri="{BB962C8B-B14F-4D97-AF65-F5344CB8AC3E}">
        <p14:creationId xmlns:p14="http://schemas.microsoft.com/office/powerpoint/2010/main" val="3578148551"/>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Divider Re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10E3402-48B3-4143-B616-3016ADBBD5D2}"/>
              </a:ext>
            </a:extLst>
          </p:cNvPr>
          <p:cNvSpPr>
            <a:spLocks noGrp="1"/>
          </p:cNvSpPr>
          <p:nvPr>
            <p:ph type="pic" sz="quarter" idx="12" hasCustomPrompt="1"/>
          </p:nvPr>
        </p:nvSpPr>
        <p:spPr>
          <a:xfrm>
            <a:off x="9060873" y="0"/>
            <a:ext cx="3131127" cy="6858000"/>
          </a:xfrm>
        </p:spPr>
        <p:txBody>
          <a:bodyPr/>
          <a:lstStyle/>
          <a:p>
            <a:r>
              <a:rPr lang="en-US" dirty="0"/>
              <a:t>Insert Picture</a:t>
            </a:r>
          </a:p>
        </p:txBody>
      </p:sp>
      <p:sp>
        <p:nvSpPr>
          <p:cNvPr id="14" name="Picture Placeholder 4">
            <a:extLst>
              <a:ext uri="{FF2B5EF4-FFF2-40B4-BE49-F238E27FC236}">
                <a16:creationId xmlns:a16="http://schemas.microsoft.com/office/drawing/2014/main" id="{DC3FCFD4-8398-2441-BE44-A8DEC5D48792}"/>
              </a:ext>
            </a:extLst>
          </p:cNvPr>
          <p:cNvSpPr>
            <a:spLocks noGrp="1"/>
          </p:cNvSpPr>
          <p:nvPr>
            <p:ph type="pic" sz="quarter" idx="10" hasCustomPrompt="1"/>
          </p:nvPr>
        </p:nvSpPr>
        <p:spPr>
          <a:xfrm>
            <a:off x="4713316" y="0"/>
            <a:ext cx="3430939"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r>
              <a:rPr lang="en-US" dirty="0"/>
              <a:t>Insert Picture</a:t>
            </a:r>
          </a:p>
        </p:txBody>
      </p:sp>
      <p:sp>
        <p:nvSpPr>
          <p:cNvPr id="7" name="Content Placeholder 2">
            <a:extLst>
              <a:ext uri="{FF2B5EF4-FFF2-40B4-BE49-F238E27FC236}">
                <a16:creationId xmlns:a16="http://schemas.microsoft.com/office/drawing/2014/main" id="{1537B446-C9D8-6D44-B058-43523B81DBB4}"/>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tx2"/>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 </a:t>
            </a:r>
          </a:p>
        </p:txBody>
      </p:sp>
      <p:sp>
        <p:nvSpPr>
          <p:cNvPr id="10" name="Picture Placeholder 4">
            <a:extLst>
              <a:ext uri="{FF2B5EF4-FFF2-40B4-BE49-F238E27FC236}">
                <a16:creationId xmlns:a16="http://schemas.microsoft.com/office/drawing/2014/main" id="{C908F25E-1A70-3543-A342-8DB155219B50}"/>
              </a:ext>
            </a:extLst>
          </p:cNvPr>
          <p:cNvSpPr>
            <a:spLocks noGrp="1"/>
          </p:cNvSpPr>
          <p:nvPr>
            <p:ph type="pic" sz="quarter" idx="13" hasCustomPrompt="1"/>
          </p:nvPr>
        </p:nvSpPr>
        <p:spPr>
          <a:xfrm>
            <a:off x="7005413" y="0"/>
            <a:ext cx="3470136"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r>
              <a:rPr lang="en-US" dirty="0"/>
              <a:t>Insert Picture</a:t>
            </a:r>
          </a:p>
        </p:txBody>
      </p:sp>
    </p:spTree>
    <p:extLst>
      <p:ext uri="{BB962C8B-B14F-4D97-AF65-F5344CB8AC3E}">
        <p14:creationId xmlns:p14="http://schemas.microsoft.com/office/powerpoint/2010/main" val="2879447849"/>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ntent-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406140" cy="4351338"/>
          </a:xfrm>
          <a:prstGeom prst="rect">
            <a:avLst/>
          </a:prstGeom>
        </p:spPr>
        <p:txBody>
          <a:bodyPr anchor="ctr">
            <a:noAutofit/>
          </a:bodyPr>
          <a:lstStyle>
            <a:lvl1pPr marL="0" indent="0" algn="l">
              <a:lnSpc>
                <a:spcPct val="80000"/>
              </a:lnSpc>
              <a:buNone/>
              <a:defRPr sz="3200" b="1" i="0">
                <a:solidFill>
                  <a:schemeClr val="tx2"/>
                </a:solidFill>
                <a:latin typeface="Trebuchet MS" panose="020B0703020202090204" pitchFamily="34" charset="0"/>
                <a:cs typeface="Trebuchet MS" panose="020B0703020202090204" pitchFamily="34" charset="0"/>
              </a:defRPr>
            </a:lvl1pPr>
          </a:lstStyle>
          <a:p>
            <a:pPr lvl="0"/>
            <a:r>
              <a:rPr lang="en-US" dirty="0"/>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fld id="{4BEAA09E-D67E-864E-8466-C38E88600C4F}" type="slidenum">
              <a:rPr lang="en-US" smtClean="0"/>
              <a:t>‹#›</a:t>
            </a:fld>
            <a:endParaRPr lang="en-US" dirty="0"/>
          </a:p>
        </p:txBody>
      </p:sp>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4260501" y="1628503"/>
            <a:ext cx="0" cy="347472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p:nvPr>
        </p:nvSpPr>
        <p:spPr>
          <a:xfrm>
            <a:off x="4606972" y="800327"/>
            <a:ext cx="7157992" cy="5257346"/>
          </a:xfrm>
          <a:prstGeom prst="rect">
            <a:avLst/>
          </a:prstGeom>
        </p:spPr>
        <p:txBody>
          <a:bodyPr anchor="ctr">
            <a:noAutofit/>
          </a:bodyPr>
          <a:lstStyle>
            <a:lvl1pPr marL="0" marR="0" indent="0" algn="l" defTabSz="914400" rtl="0" eaLnBrk="1" fontAlgn="auto" latinLnBrk="0" hangingPunct="1">
              <a:lnSpc>
                <a:spcPct val="114000"/>
              </a:lnSpc>
              <a:spcBef>
                <a:spcPts val="0"/>
              </a:spcBef>
              <a:spcAft>
                <a:spcPts val="600"/>
              </a:spcAft>
              <a:buClr>
                <a:srgbClr val="54565B"/>
              </a:buClr>
              <a:buSzPct val="65000"/>
              <a:buFont typeface="Monaco" pitchFamily="2" charset="77"/>
              <a:buNone/>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sz="1800" b="0">
                <a:solidFill>
                  <a:schemeClr val="tx1"/>
                </a:solidFill>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sz="1600"/>
            </a:lvl3pPr>
            <a:lvl4pPr marL="693738" indent="-169863" algn="l" defTabSz="914400" rtl="0" eaLnBrk="1" latinLnBrk="0" hangingPunct="1">
              <a:lnSpc>
                <a:spcPct val="110000"/>
              </a:lnSpc>
              <a:spcBef>
                <a:spcPts val="0"/>
              </a:spcBef>
              <a:spcAft>
                <a:spcPts val="600"/>
              </a:spcAft>
              <a:buFont typeface="Apple Symbols" panose="02000000000000000000" pitchFamily="2" charset="-79"/>
              <a:buChar char="⎼"/>
              <a:tabLst/>
              <a:defRPr sz="1400"/>
            </a:lvl4pPr>
            <a:lvl5pPr marL="1260476" indent="-169863" algn="l" defTabSz="914400" rtl="0" eaLnBrk="1" latinLnBrk="0" hangingPunct="1">
              <a:lnSpc>
                <a:spcPct val="110000"/>
              </a:lnSpc>
              <a:spcBef>
                <a:spcPts val="0"/>
              </a:spcBef>
              <a:spcAft>
                <a:spcPts val="600"/>
              </a:spcAft>
              <a:buFont typeface="Apple Symbols" panose="02000000000000000000" pitchFamily="2" charset="-79"/>
              <a:buChar char="⎼"/>
              <a:tabLst/>
              <a:defRPr/>
            </a:lvl5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mn-cs"/>
              </a:rPr>
              <a:t>Click to edit Master text styles</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dirty="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dirty="0">
                <a:ln>
                  <a:noFill/>
                </a:ln>
                <a:solidFill>
                  <a:srgbClr val="54565B"/>
                </a:solidFill>
                <a:effectLst/>
                <a:uLnTx/>
                <a:uFillTx/>
                <a:latin typeface="Georgia" panose="02040502050405020303" pitchFamily="18" charset="0"/>
                <a:ea typeface="+mn-ea"/>
                <a:cs typeface="+mn-cs"/>
              </a:rPr>
              <a:t>Third level</a:t>
            </a:r>
          </a:p>
        </p:txBody>
      </p:sp>
      <p:sp>
        <p:nvSpPr>
          <p:cNvPr id="10" name="Slide Number Placeholder 5">
            <a:extLst>
              <a:ext uri="{FF2B5EF4-FFF2-40B4-BE49-F238E27FC236}">
                <a16:creationId xmlns:a16="http://schemas.microsoft.com/office/drawing/2014/main" id="{3775700F-D6DD-FC44-88CD-E5700FB501F6}"/>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latin typeface="Trebuchet MS" panose="020B0703020202090204" pitchFamily="34" charset="0"/>
              </a:rPr>
              <a:t>Confidential – Internal Use Only</a:t>
            </a:r>
          </a:p>
        </p:txBody>
      </p:sp>
      <p:pic>
        <p:nvPicPr>
          <p:cNvPr id="8" name="Picture 7" descr="A picture containing text&#10;&#10;Description automatically generated">
            <a:extLst>
              <a:ext uri="{FF2B5EF4-FFF2-40B4-BE49-F238E27FC236}">
                <a16:creationId xmlns:a16="http://schemas.microsoft.com/office/drawing/2014/main" id="{D7782802-A9EB-EA49-9965-590F35318D7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13239255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 Comparison Red">
    <p:bg>
      <p:bgPr>
        <a:solidFill>
          <a:schemeClr val="tx2"/>
        </a:solidFill>
        <a:effectLst/>
      </p:bgPr>
    </p:bg>
    <p:spTree>
      <p:nvGrpSpPr>
        <p:cNvPr id="1" name=""/>
        <p:cNvGrpSpPr/>
        <p:nvPr/>
      </p:nvGrpSpPr>
      <p:grpSpPr>
        <a:xfrm>
          <a:off x="0" y="0"/>
          <a:ext cx="0" cy="0"/>
          <a:chOff x="0" y="0"/>
          <a:chExt cx="0" cy="0"/>
        </a:xfrm>
      </p:grpSpPr>
      <p:sp>
        <p:nvSpPr>
          <p:cNvPr id="14" name="Pentagon 8">
            <a:extLst>
              <a:ext uri="{FF2B5EF4-FFF2-40B4-BE49-F238E27FC236}">
                <a16:creationId xmlns:a16="http://schemas.microsoft.com/office/drawing/2014/main" id="{2294D5E9-C604-D249-A162-97B6BCC778CB}"/>
              </a:ext>
            </a:extLst>
          </p:cNvPr>
          <p:cNvSpPr>
            <a:spLocks noChangeAspect="1"/>
          </p:cNvSpPr>
          <p:nvPr userDrawn="1"/>
        </p:nvSpPr>
        <p:spPr bwMode="white">
          <a:xfrm>
            <a:off x="0" y="0"/>
            <a:ext cx="6336060" cy="6885736"/>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901951"/>
            <a:ext cx="5081891"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Trebuchet MS" panose="020B0703020202090204" pitchFamily="34" charset="0"/>
              </a:defRPr>
            </a:lvl1pPr>
          </a:lstStyle>
          <a:p>
            <a:pPr lvl="0"/>
            <a:r>
              <a:rPr lang="en-US" dirty="0"/>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901951"/>
            <a:ext cx="5150842"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Rockwell Nova Light" panose="02060303020205020403" pitchFamily="18" charset="0"/>
              </a:defRPr>
            </a:lvl1pPr>
          </a:lstStyle>
          <a:p>
            <a:pPr lvl="0"/>
            <a:r>
              <a:rPr lang="en-US" dirty="0"/>
              <a:t>Edit master text styles</a:t>
            </a: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3246001"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dirty="0">
                <a:latin typeface="Trebuchet MS" panose="020B0703020202090204" pitchFamily="34" charset="0"/>
              </a:rPr>
              <a:t>Confidential – Internal Use Only</a:t>
            </a:r>
          </a:p>
        </p:txBody>
      </p:sp>
      <p:pic>
        <p:nvPicPr>
          <p:cNvPr id="15" name="Picture 14" descr="Logo&#10;&#10;Description automatically generated with low confidence">
            <a:extLst>
              <a:ext uri="{FF2B5EF4-FFF2-40B4-BE49-F238E27FC236}">
                <a16:creationId xmlns:a16="http://schemas.microsoft.com/office/drawing/2014/main" id="{997327DD-9F18-1840-A1AA-EC2C2D6CF99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8801" y="6053631"/>
            <a:ext cx="2270613" cy="849625"/>
          </a:xfrm>
          <a:prstGeom prst="rect">
            <a:avLst/>
          </a:prstGeom>
        </p:spPr>
      </p:pic>
    </p:spTree>
    <p:extLst>
      <p:ext uri="{BB962C8B-B14F-4D97-AF65-F5344CB8AC3E}">
        <p14:creationId xmlns:p14="http://schemas.microsoft.com/office/powerpoint/2010/main" val="3106919764"/>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ey Comparison Red-2">
    <p:spTree>
      <p:nvGrpSpPr>
        <p:cNvPr id="1" name=""/>
        <p:cNvGrpSpPr/>
        <p:nvPr/>
      </p:nvGrpSpPr>
      <p:grpSpPr>
        <a:xfrm>
          <a:off x="0" y="0"/>
          <a:ext cx="0" cy="0"/>
          <a:chOff x="0" y="0"/>
          <a:chExt cx="0" cy="0"/>
        </a:xfrm>
      </p:grpSpPr>
      <p:sp>
        <p:nvSpPr>
          <p:cNvPr id="10" name="Pentagon 8">
            <a:extLst>
              <a:ext uri="{FF2B5EF4-FFF2-40B4-BE49-F238E27FC236}">
                <a16:creationId xmlns:a16="http://schemas.microsoft.com/office/drawing/2014/main" id="{C11C197F-FD3C-B743-822B-A9CD2DF184F2}"/>
              </a:ext>
            </a:extLst>
          </p:cNvPr>
          <p:cNvSpPr>
            <a:spLocks noChangeAspect="1"/>
          </p:cNvSpPr>
          <p:nvPr userDrawn="1"/>
        </p:nvSpPr>
        <p:spPr bwMode="white">
          <a:xfrm>
            <a:off x="0" y="0"/>
            <a:ext cx="6336060" cy="6885736"/>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6614809"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dirty="0">
                <a:latin typeface="Trebuchet MS" panose="020B0703020202090204" pitchFamily="34" charset="0"/>
              </a:rPr>
              <a:t>Confidential – Internal Use Only</a:t>
            </a:r>
          </a:p>
        </p:txBody>
      </p:sp>
      <p:sp>
        <p:nvSpPr>
          <p:cNvPr id="15" name="Content Placeholder 2">
            <a:extLst>
              <a:ext uri="{FF2B5EF4-FFF2-40B4-BE49-F238E27FC236}">
                <a16:creationId xmlns:a16="http://schemas.microsoft.com/office/drawing/2014/main" id="{2F93B52C-99E0-6345-BE08-BCC3936C5AD1}"/>
              </a:ext>
            </a:extLst>
          </p:cNvPr>
          <p:cNvSpPr>
            <a:spLocks noGrp="1"/>
          </p:cNvSpPr>
          <p:nvPr>
            <p:ph sz="half" idx="1" hasCustomPrompt="1"/>
          </p:nvPr>
        </p:nvSpPr>
        <p:spPr>
          <a:xfrm>
            <a:off x="495300" y="1901951"/>
            <a:ext cx="5081891"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a:t>
            </a:r>
          </a:p>
        </p:txBody>
      </p:sp>
      <p:sp>
        <p:nvSpPr>
          <p:cNvPr id="16" name="Content Placeholder 2">
            <a:extLst>
              <a:ext uri="{FF2B5EF4-FFF2-40B4-BE49-F238E27FC236}">
                <a16:creationId xmlns:a16="http://schemas.microsoft.com/office/drawing/2014/main" id="{BBA9DB84-564B-9F4F-931B-CC4ED34456A6}"/>
              </a:ext>
            </a:extLst>
          </p:cNvPr>
          <p:cNvSpPr>
            <a:spLocks noGrp="1"/>
          </p:cNvSpPr>
          <p:nvPr>
            <p:ph sz="half" idx="10" hasCustomPrompt="1"/>
          </p:nvPr>
        </p:nvSpPr>
        <p:spPr>
          <a:xfrm>
            <a:off x="6614809" y="1901951"/>
            <a:ext cx="5150842"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Rockwell Nova Light" panose="02060303020205020403" pitchFamily="18" charset="0"/>
              </a:defRPr>
            </a:lvl1pPr>
          </a:lstStyle>
          <a:p>
            <a:pPr lvl="0"/>
            <a:r>
              <a:rPr lang="en-US" dirty="0"/>
              <a:t>Edit master text styles</a:t>
            </a:r>
          </a:p>
        </p:txBody>
      </p:sp>
      <p:pic>
        <p:nvPicPr>
          <p:cNvPr id="12" name="Picture 11" descr="A picture containing text&#10;&#10;Description automatically generated">
            <a:extLst>
              <a:ext uri="{FF2B5EF4-FFF2-40B4-BE49-F238E27FC236}">
                <a16:creationId xmlns:a16="http://schemas.microsoft.com/office/drawing/2014/main" id="{ED80A7AC-9C57-8648-847F-4E901E93F35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
        <p:nvSpPr>
          <p:cNvPr id="7" name="Slide Number Placeholder 5">
            <a:extLst>
              <a:ext uri="{FF2B5EF4-FFF2-40B4-BE49-F238E27FC236}">
                <a16:creationId xmlns:a16="http://schemas.microsoft.com/office/drawing/2014/main" id="{C34C52C2-4347-6644-86FB-13CD9304DAF7}"/>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Tree>
    <p:extLst>
      <p:ext uri="{BB962C8B-B14F-4D97-AF65-F5344CB8AC3E}">
        <p14:creationId xmlns:p14="http://schemas.microsoft.com/office/powerpoint/2010/main" val="399468779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Key Comparison-Blue">
    <p:bg>
      <p:bgPr>
        <a:solidFill>
          <a:schemeClr val="accent1"/>
        </a:solidFill>
        <a:effectLst/>
      </p:bgPr>
    </p:bg>
    <p:spTree>
      <p:nvGrpSpPr>
        <p:cNvPr id="1" name=""/>
        <p:cNvGrpSpPr/>
        <p:nvPr/>
      </p:nvGrpSpPr>
      <p:grpSpPr>
        <a:xfrm>
          <a:off x="0" y="0"/>
          <a:ext cx="0" cy="0"/>
          <a:chOff x="0" y="0"/>
          <a:chExt cx="0" cy="0"/>
        </a:xfrm>
      </p:grpSpPr>
      <p:sp>
        <p:nvSpPr>
          <p:cNvPr id="14" name="Pentagon 8">
            <a:extLst>
              <a:ext uri="{FF2B5EF4-FFF2-40B4-BE49-F238E27FC236}">
                <a16:creationId xmlns:a16="http://schemas.microsoft.com/office/drawing/2014/main" id="{2294D5E9-C604-D249-A162-97B6BCC778CB}"/>
              </a:ext>
            </a:extLst>
          </p:cNvPr>
          <p:cNvSpPr>
            <a:spLocks noChangeAspect="1"/>
          </p:cNvSpPr>
          <p:nvPr userDrawn="1"/>
        </p:nvSpPr>
        <p:spPr bwMode="white">
          <a:xfrm>
            <a:off x="0" y="0"/>
            <a:ext cx="6336060" cy="6885736"/>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901951"/>
            <a:ext cx="5081891"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Trebuchet MS" panose="020B0703020202090204" pitchFamily="34" charset="0"/>
              </a:defRPr>
            </a:lvl1pPr>
          </a:lstStyle>
          <a:p>
            <a:pPr lvl="0"/>
            <a:r>
              <a:rPr lang="en-US" dirty="0"/>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901951"/>
            <a:ext cx="5150842"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Rockwell Nova Light" panose="02060303020205020403" pitchFamily="18" charset="0"/>
              </a:defRPr>
            </a:lvl1pPr>
          </a:lstStyle>
          <a:p>
            <a:pPr lvl="0"/>
            <a:r>
              <a:rPr lang="en-US" dirty="0"/>
              <a:t>Edit master text styles</a:t>
            </a: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3246001"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dirty="0">
                <a:latin typeface="Trebuchet MS" panose="020B0703020202090204" pitchFamily="34" charset="0"/>
              </a:rPr>
              <a:t>Confidential – Internal Use Only</a:t>
            </a:r>
          </a:p>
        </p:txBody>
      </p:sp>
      <p:pic>
        <p:nvPicPr>
          <p:cNvPr id="10" name="Picture 9" descr="Logo&#10;&#10;Description automatically generated with low confidence">
            <a:extLst>
              <a:ext uri="{FF2B5EF4-FFF2-40B4-BE49-F238E27FC236}">
                <a16:creationId xmlns:a16="http://schemas.microsoft.com/office/drawing/2014/main" id="{8990FAF9-85ED-2F49-BCBF-FE4365E289B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8801" y="6053631"/>
            <a:ext cx="2270613" cy="849625"/>
          </a:xfrm>
          <a:prstGeom prst="rect">
            <a:avLst/>
          </a:prstGeom>
        </p:spPr>
      </p:pic>
    </p:spTree>
    <p:extLst>
      <p:ext uri="{BB962C8B-B14F-4D97-AF65-F5344CB8AC3E}">
        <p14:creationId xmlns:p14="http://schemas.microsoft.com/office/powerpoint/2010/main" val="685518449"/>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Key Comparison Blue-2">
    <p:spTree>
      <p:nvGrpSpPr>
        <p:cNvPr id="1" name=""/>
        <p:cNvGrpSpPr/>
        <p:nvPr/>
      </p:nvGrpSpPr>
      <p:grpSpPr>
        <a:xfrm>
          <a:off x="0" y="0"/>
          <a:ext cx="0" cy="0"/>
          <a:chOff x="0" y="0"/>
          <a:chExt cx="0" cy="0"/>
        </a:xfrm>
      </p:grpSpPr>
      <p:sp>
        <p:nvSpPr>
          <p:cNvPr id="10" name="Pentagon 8">
            <a:extLst>
              <a:ext uri="{FF2B5EF4-FFF2-40B4-BE49-F238E27FC236}">
                <a16:creationId xmlns:a16="http://schemas.microsoft.com/office/drawing/2014/main" id="{C11C197F-FD3C-B743-822B-A9CD2DF184F2}"/>
              </a:ext>
            </a:extLst>
          </p:cNvPr>
          <p:cNvSpPr>
            <a:spLocks noChangeAspect="1"/>
          </p:cNvSpPr>
          <p:nvPr userDrawn="1"/>
        </p:nvSpPr>
        <p:spPr bwMode="white">
          <a:xfrm>
            <a:off x="0" y="0"/>
            <a:ext cx="6336060" cy="6885736"/>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6614809"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dirty="0">
                <a:latin typeface="Trebuchet MS" panose="020B0703020202090204" pitchFamily="34" charset="0"/>
              </a:rPr>
              <a:t>Confidential – Internal Use Only</a:t>
            </a:r>
          </a:p>
        </p:txBody>
      </p:sp>
      <p:sp>
        <p:nvSpPr>
          <p:cNvPr id="15" name="Content Placeholder 2">
            <a:extLst>
              <a:ext uri="{FF2B5EF4-FFF2-40B4-BE49-F238E27FC236}">
                <a16:creationId xmlns:a16="http://schemas.microsoft.com/office/drawing/2014/main" id="{2F93B52C-99E0-6345-BE08-BCC3936C5AD1}"/>
              </a:ext>
            </a:extLst>
          </p:cNvPr>
          <p:cNvSpPr>
            <a:spLocks noGrp="1"/>
          </p:cNvSpPr>
          <p:nvPr>
            <p:ph sz="half" idx="1" hasCustomPrompt="1"/>
          </p:nvPr>
        </p:nvSpPr>
        <p:spPr>
          <a:xfrm>
            <a:off x="495300" y="1901951"/>
            <a:ext cx="5081891"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a:t>
            </a:r>
          </a:p>
        </p:txBody>
      </p:sp>
      <p:sp>
        <p:nvSpPr>
          <p:cNvPr id="16" name="Content Placeholder 2">
            <a:extLst>
              <a:ext uri="{FF2B5EF4-FFF2-40B4-BE49-F238E27FC236}">
                <a16:creationId xmlns:a16="http://schemas.microsoft.com/office/drawing/2014/main" id="{BBA9DB84-564B-9F4F-931B-CC4ED34456A6}"/>
              </a:ext>
            </a:extLst>
          </p:cNvPr>
          <p:cNvSpPr>
            <a:spLocks noGrp="1"/>
          </p:cNvSpPr>
          <p:nvPr>
            <p:ph sz="half" idx="10" hasCustomPrompt="1"/>
          </p:nvPr>
        </p:nvSpPr>
        <p:spPr>
          <a:xfrm>
            <a:off x="6614809" y="1901951"/>
            <a:ext cx="5150842"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Rockwell Nova Light" panose="02060303020205020403" pitchFamily="18" charset="0"/>
              </a:defRPr>
            </a:lvl1pPr>
          </a:lstStyle>
          <a:p>
            <a:pPr lvl="0"/>
            <a:r>
              <a:rPr lang="en-US" dirty="0"/>
              <a:t>Edit master text styles</a:t>
            </a:r>
          </a:p>
        </p:txBody>
      </p:sp>
      <p:pic>
        <p:nvPicPr>
          <p:cNvPr id="12" name="Picture 11" descr="A picture containing text&#10;&#10;Description automatically generated">
            <a:extLst>
              <a:ext uri="{FF2B5EF4-FFF2-40B4-BE49-F238E27FC236}">
                <a16:creationId xmlns:a16="http://schemas.microsoft.com/office/drawing/2014/main" id="{3BF720D9-7666-144A-A95D-F9268E1BE7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
        <p:nvSpPr>
          <p:cNvPr id="7" name="Slide Number Placeholder 5">
            <a:extLst>
              <a:ext uri="{FF2B5EF4-FFF2-40B4-BE49-F238E27FC236}">
                <a16:creationId xmlns:a16="http://schemas.microsoft.com/office/drawing/2014/main" id="{B2721726-BD3B-5143-B62A-8F8E2439E4A6}"/>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Tree>
    <p:extLst>
      <p:ext uri="{BB962C8B-B14F-4D97-AF65-F5344CB8AC3E}">
        <p14:creationId xmlns:p14="http://schemas.microsoft.com/office/powerpoint/2010/main" val="378644431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Picture Split Blu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hasCustomPrompt="1"/>
          </p:nvPr>
        </p:nvSpPr>
        <p:spPr>
          <a:xfrm>
            <a:off x="5038852" y="-12192"/>
            <a:ext cx="7180556" cy="6882384"/>
          </a:xfrm>
          <a:custGeom>
            <a:avLst/>
            <a:gdLst>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0 w 7396987"/>
              <a:gd name="connsiteY7" fmla="*/ 1143023 h 6858000"/>
              <a:gd name="connsiteX8" fmla="*/ 1143023 w 7396987"/>
              <a:gd name="connsiteY8" fmla="*/ 0 h 6858000"/>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1143023 w 7396987"/>
              <a:gd name="connsiteY8" fmla="*/ 0 h 6858000"/>
              <a:gd name="connsiteX0" fmla="*/ 972335 w 7396987"/>
              <a:gd name="connsiteY0" fmla="*/ 12192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972335 w 7396987"/>
              <a:gd name="connsiteY8" fmla="*/ 12192 h 6858000"/>
              <a:gd name="connsiteX0" fmla="*/ 972335 w 7424396"/>
              <a:gd name="connsiteY0" fmla="*/ 24384 h 6870192"/>
              <a:gd name="connsiteX1" fmla="*/ 7424396 w 7424396"/>
              <a:gd name="connsiteY1" fmla="*/ 0 h 6870192"/>
              <a:gd name="connsiteX2" fmla="*/ 7396987 w 7424396"/>
              <a:gd name="connsiteY2" fmla="*/ 1155215 h 6870192"/>
              <a:gd name="connsiteX3" fmla="*/ 7396987 w 7424396"/>
              <a:gd name="connsiteY3" fmla="*/ 6870192 h 6870192"/>
              <a:gd name="connsiteX4" fmla="*/ 7396987 w 7424396"/>
              <a:gd name="connsiteY4" fmla="*/ 6870192 h 6870192"/>
              <a:gd name="connsiteX5" fmla="*/ 0 w 7424396"/>
              <a:gd name="connsiteY5" fmla="*/ 6870192 h 6870192"/>
              <a:gd name="connsiteX6" fmla="*/ 0 w 7424396"/>
              <a:gd name="connsiteY6" fmla="*/ 6870192 h 6870192"/>
              <a:gd name="connsiteX7" fmla="*/ 256032 w 7424396"/>
              <a:gd name="connsiteY7" fmla="*/ 2081807 h 6870192"/>
              <a:gd name="connsiteX8" fmla="*/ 972335 w 7424396"/>
              <a:gd name="connsiteY8" fmla="*/ 24384 h 6870192"/>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56032 w 7424396"/>
              <a:gd name="connsiteY7" fmla="*/ 2081807 h 6906768"/>
              <a:gd name="connsiteX8" fmla="*/ 972335 w 7424396"/>
              <a:gd name="connsiteY8" fmla="*/ 24384 h 6906768"/>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43840 w 7424396"/>
              <a:gd name="connsiteY7" fmla="*/ 2142767 h 6906768"/>
              <a:gd name="connsiteX8" fmla="*/ 972335 w 742439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1121664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3609142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24384 h 6882384"/>
              <a:gd name="connsiteX0" fmla="*/ 728495 w 7180556"/>
              <a:gd name="connsiteY0" fmla="*/ 1137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1137 h 68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0556" h="6882384">
                <a:moveTo>
                  <a:pt x="728495" y="1137"/>
                </a:moveTo>
                <a:lnTo>
                  <a:pt x="7180556" y="0"/>
                </a:lnTo>
                <a:lnTo>
                  <a:pt x="7153147" y="1155215"/>
                </a:lnTo>
                <a:lnTo>
                  <a:pt x="7153147" y="6870192"/>
                </a:lnTo>
                <a:lnTo>
                  <a:pt x="7153147" y="6870192"/>
                </a:lnTo>
                <a:lnTo>
                  <a:pt x="3609142" y="6882384"/>
                </a:lnTo>
                <a:lnTo>
                  <a:pt x="1052955" y="6875772"/>
                </a:lnTo>
                <a:lnTo>
                  <a:pt x="0" y="2142767"/>
                </a:lnTo>
                <a:lnTo>
                  <a:pt x="728495" y="1137"/>
                </a:lnTo>
                <a:close/>
              </a:path>
            </a:pathLst>
          </a:custGeom>
        </p:spPr>
        <p:txBody>
          <a:bodyPr anchor="ctr"/>
          <a:lstStyle>
            <a:lvl1pPr marL="0" indent="0" algn="ctr">
              <a:buNone/>
              <a:defRPr/>
            </a:lvl1pPr>
          </a:lstStyle>
          <a:p>
            <a:r>
              <a:rPr lang="en-US" dirty="0"/>
              <a:t>Insert photo by clicking on the image icon</a:t>
            </a:r>
          </a:p>
        </p:txBody>
      </p:sp>
      <p:sp>
        <p:nvSpPr>
          <p:cNvPr id="10" name="Slide Number Placeholder 5">
            <a:extLst>
              <a:ext uri="{FF2B5EF4-FFF2-40B4-BE49-F238E27FC236}">
                <a16:creationId xmlns:a16="http://schemas.microsoft.com/office/drawing/2014/main" id="{DF170BCB-3373-5549-9815-B668B2498165}"/>
              </a:ext>
            </a:extLst>
          </p:cNvPr>
          <p:cNvSpPr txBox="1">
            <a:spLocks/>
          </p:cNvSpPr>
          <p:nvPr userDrawn="1"/>
        </p:nvSpPr>
        <p:spPr>
          <a:xfrm>
            <a:off x="956929" y="6400799"/>
            <a:ext cx="2150718"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latin typeface="Trebuchet MS" panose="020B0703020202090204" pitchFamily="34" charset="0"/>
              </a:rPr>
              <a:t>Confidential – Internal Use Only</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4" y="6400799"/>
            <a:ext cx="745915"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13" name="Content Placeholder 2">
            <a:extLst>
              <a:ext uri="{FF2B5EF4-FFF2-40B4-BE49-F238E27FC236}">
                <a16:creationId xmlns:a16="http://schemas.microsoft.com/office/drawing/2014/main" id="{57C22B10-6CAF-D149-83A7-C2D46515C468}"/>
              </a:ext>
            </a:extLst>
          </p:cNvPr>
          <p:cNvSpPr>
            <a:spLocks noGrp="1"/>
          </p:cNvSpPr>
          <p:nvPr>
            <p:ph sz="half" idx="11" hasCustomPrompt="1"/>
          </p:nvPr>
        </p:nvSpPr>
        <p:spPr>
          <a:xfrm>
            <a:off x="495300" y="1901951"/>
            <a:ext cx="4033157" cy="3639285"/>
          </a:xfrm>
          <a:prstGeom prst="rect">
            <a:avLst/>
          </a:prstGeom>
        </p:spPr>
        <p:txBody>
          <a:bodyPr anchor="t">
            <a:noAutofit/>
          </a:bodyPr>
          <a:lstStyle>
            <a:lvl1pPr marL="0" indent="0" algn="l">
              <a:lnSpc>
                <a:spcPct val="80000"/>
              </a:lnSpc>
              <a:buNone/>
              <a:defRPr sz="3200" b="1" i="0">
                <a:solidFill>
                  <a:schemeClr val="accent1"/>
                </a:solidFill>
                <a:latin typeface="Trebuchet MS" panose="020B0703020202090204" pitchFamily="34" charset="0"/>
                <a:cs typeface="Trebuchet MS" panose="020B0703020202090204" pitchFamily="34" charset="0"/>
              </a:defRPr>
            </a:lvl1pPr>
          </a:lstStyle>
          <a:p>
            <a:pPr lvl="0"/>
            <a:r>
              <a:rPr lang="en-US" dirty="0"/>
              <a:t>Edit master text styles</a:t>
            </a:r>
          </a:p>
        </p:txBody>
      </p:sp>
      <p:pic>
        <p:nvPicPr>
          <p:cNvPr id="7" name="Picture 6" descr="A picture containing text&#10;&#10;Description automatically generated">
            <a:extLst>
              <a:ext uri="{FF2B5EF4-FFF2-40B4-BE49-F238E27FC236}">
                <a16:creationId xmlns:a16="http://schemas.microsoft.com/office/drawing/2014/main" id="{84A72C24-4C79-2B45-A197-BD89F220A86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93151" y="6049872"/>
            <a:ext cx="2270612" cy="849624"/>
          </a:xfrm>
          <a:prstGeom prst="rect">
            <a:avLst/>
          </a:prstGeom>
        </p:spPr>
      </p:pic>
    </p:spTree>
    <p:extLst>
      <p:ext uri="{BB962C8B-B14F-4D97-AF65-F5344CB8AC3E}">
        <p14:creationId xmlns:p14="http://schemas.microsoft.com/office/powerpoint/2010/main" val="7102942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accent1"/>
                </a:solidFill>
                <a:latin typeface="+mj-lt"/>
              </a:defRPr>
            </a:lvl1pPr>
          </a:lstStyle>
          <a:p>
            <a:r>
              <a:rPr lang="en-US"/>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4985279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Picture Split Re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hasCustomPrompt="1"/>
          </p:nvPr>
        </p:nvSpPr>
        <p:spPr>
          <a:xfrm>
            <a:off x="5038852" y="-12192"/>
            <a:ext cx="7180556" cy="6882384"/>
          </a:xfrm>
          <a:custGeom>
            <a:avLst/>
            <a:gdLst>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0 w 7396987"/>
              <a:gd name="connsiteY7" fmla="*/ 1143023 h 6858000"/>
              <a:gd name="connsiteX8" fmla="*/ 1143023 w 7396987"/>
              <a:gd name="connsiteY8" fmla="*/ 0 h 6858000"/>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1143023 w 7396987"/>
              <a:gd name="connsiteY8" fmla="*/ 0 h 6858000"/>
              <a:gd name="connsiteX0" fmla="*/ 972335 w 7396987"/>
              <a:gd name="connsiteY0" fmla="*/ 12192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972335 w 7396987"/>
              <a:gd name="connsiteY8" fmla="*/ 12192 h 6858000"/>
              <a:gd name="connsiteX0" fmla="*/ 972335 w 7424396"/>
              <a:gd name="connsiteY0" fmla="*/ 24384 h 6870192"/>
              <a:gd name="connsiteX1" fmla="*/ 7424396 w 7424396"/>
              <a:gd name="connsiteY1" fmla="*/ 0 h 6870192"/>
              <a:gd name="connsiteX2" fmla="*/ 7396987 w 7424396"/>
              <a:gd name="connsiteY2" fmla="*/ 1155215 h 6870192"/>
              <a:gd name="connsiteX3" fmla="*/ 7396987 w 7424396"/>
              <a:gd name="connsiteY3" fmla="*/ 6870192 h 6870192"/>
              <a:gd name="connsiteX4" fmla="*/ 7396987 w 7424396"/>
              <a:gd name="connsiteY4" fmla="*/ 6870192 h 6870192"/>
              <a:gd name="connsiteX5" fmla="*/ 0 w 7424396"/>
              <a:gd name="connsiteY5" fmla="*/ 6870192 h 6870192"/>
              <a:gd name="connsiteX6" fmla="*/ 0 w 7424396"/>
              <a:gd name="connsiteY6" fmla="*/ 6870192 h 6870192"/>
              <a:gd name="connsiteX7" fmla="*/ 256032 w 7424396"/>
              <a:gd name="connsiteY7" fmla="*/ 2081807 h 6870192"/>
              <a:gd name="connsiteX8" fmla="*/ 972335 w 7424396"/>
              <a:gd name="connsiteY8" fmla="*/ 24384 h 6870192"/>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56032 w 7424396"/>
              <a:gd name="connsiteY7" fmla="*/ 2081807 h 6906768"/>
              <a:gd name="connsiteX8" fmla="*/ 972335 w 7424396"/>
              <a:gd name="connsiteY8" fmla="*/ 24384 h 6906768"/>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43840 w 7424396"/>
              <a:gd name="connsiteY7" fmla="*/ 2142767 h 6906768"/>
              <a:gd name="connsiteX8" fmla="*/ 972335 w 742439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1121664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3609142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24384 h 6882384"/>
              <a:gd name="connsiteX0" fmla="*/ 728495 w 7180556"/>
              <a:gd name="connsiteY0" fmla="*/ 1137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1137 h 68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0556" h="6882384">
                <a:moveTo>
                  <a:pt x="728495" y="1137"/>
                </a:moveTo>
                <a:lnTo>
                  <a:pt x="7180556" y="0"/>
                </a:lnTo>
                <a:lnTo>
                  <a:pt x="7153147" y="1155215"/>
                </a:lnTo>
                <a:lnTo>
                  <a:pt x="7153147" y="6870192"/>
                </a:lnTo>
                <a:lnTo>
                  <a:pt x="7153147" y="6870192"/>
                </a:lnTo>
                <a:lnTo>
                  <a:pt x="3609142" y="6882384"/>
                </a:lnTo>
                <a:lnTo>
                  <a:pt x="1052955" y="6875772"/>
                </a:lnTo>
                <a:lnTo>
                  <a:pt x="0" y="2142767"/>
                </a:lnTo>
                <a:lnTo>
                  <a:pt x="728495" y="1137"/>
                </a:lnTo>
                <a:close/>
              </a:path>
            </a:pathLst>
          </a:custGeom>
        </p:spPr>
        <p:txBody>
          <a:bodyPr anchor="ctr"/>
          <a:lstStyle>
            <a:lvl1pPr marL="0" indent="0" algn="ctr">
              <a:buNone/>
              <a:defRPr/>
            </a:lvl1pPr>
          </a:lstStyle>
          <a:p>
            <a:r>
              <a:rPr lang="en-US" dirty="0"/>
              <a:t>Insert photo by clicking on the image icon</a:t>
            </a:r>
          </a:p>
        </p:txBody>
      </p:sp>
      <p:sp>
        <p:nvSpPr>
          <p:cNvPr id="10" name="Slide Number Placeholder 5">
            <a:extLst>
              <a:ext uri="{FF2B5EF4-FFF2-40B4-BE49-F238E27FC236}">
                <a16:creationId xmlns:a16="http://schemas.microsoft.com/office/drawing/2014/main" id="{DF170BCB-3373-5549-9815-B668B2498165}"/>
              </a:ext>
            </a:extLst>
          </p:cNvPr>
          <p:cNvSpPr txBox="1">
            <a:spLocks/>
          </p:cNvSpPr>
          <p:nvPr userDrawn="1"/>
        </p:nvSpPr>
        <p:spPr>
          <a:xfrm>
            <a:off x="956929" y="6400799"/>
            <a:ext cx="2150718"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latin typeface="Trebuchet MS" panose="020B0703020202090204" pitchFamily="34" charset="0"/>
              </a:rPr>
              <a:t>Confidential – Internal Use Only</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4" y="6400799"/>
            <a:ext cx="745915"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13" name="Content Placeholder 2">
            <a:extLst>
              <a:ext uri="{FF2B5EF4-FFF2-40B4-BE49-F238E27FC236}">
                <a16:creationId xmlns:a16="http://schemas.microsoft.com/office/drawing/2014/main" id="{57C22B10-6CAF-D149-83A7-C2D46515C468}"/>
              </a:ext>
            </a:extLst>
          </p:cNvPr>
          <p:cNvSpPr>
            <a:spLocks noGrp="1"/>
          </p:cNvSpPr>
          <p:nvPr>
            <p:ph sz="half" idx="11" hasCustomPrompt="1"/>
          </p:nvPr>
        </p:nvSpPr>
        <p:spPr>
          <a:xfrm>
            <a:off x="495300" y="1901951"/>
            <a:ext cx="4033157" cy="3639285"/>
          </a:xfrm>
          <a:prstGeom prst="rect">
            <a:avLst/>
          </a:prstGeom>
        </p:spPr>
        <p:txBody>
          <a:bodyPr anchor="t">
            <a:noAutofit/>
          </a:bodyPr>
          <a:lstStyle>
            <a:lvl1pPr marL="0" indent="0" algn="l">
              <a:lnSpc>
                <a:spcPct val="80000"/>
              </a:lnSpc>
              <a:buNone/>
              <a:defRPr sz="3200" b="1" i="0">
                <a:solidFill>
                  <a:schemeClr val="tx2"/>
                </a:solidFill>
                <a:latin typeface="Trebuchet MS" panose="020B0703020202090204" pitchFamily="34" charset="0"/>
                <a:cs typeface="Trebuchet MS" panose="020B0703020202090204" pitchFamily="34" charset="0"/>
              </a:defRPr>
            </a:lvl1pPr>
          </a:lstStyle>
          <a:p>
            <a:pPr lvl="0"/>
            <a:r>
              <a:rPr lang="en-US" dirty="0"/>
              <a:t>Edit master text styles</a:t>
            </a:r>
          </a:p>
        </p:txBody>
      </p:sp>
      <p:pic>
        <p:nvPicPr>
          <p:cNvPr id="7" name="Picture 6" descr="A picture containing text&#10;&#10;Description automatically generated">
            <a:extLst>
              <a:ext uri="{FF2B5EF4-FFF2-40B4-BE49-F238E27FC236}">
                <a16:creationId xmlns:a16="http://schemas.microsoft.com/office/drawing/2014/main" id="{8025DF2F-C64D-8F4D-B4DD-BC6EA0DEA09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93151" y="6049872"/>
            <a:ext cx="2270612" cy="849624"/>
          </a:xfrm>
          <a:prstGeom prst="rect">
            <a:avLst/>
          </a:prstGeom>
        </p:spPr>
      </p:pic>
    </p:spTree>
    <p:extLst>
      <p:ext uri="{BB962C8B-B14F-4D97-AF65-F5344CB8AC3E}">
        <p14:creationId xmlns:p14="http://schemas.microsoft.com/office/powerpoint/2010/main" val="14602545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Picture Split-Image">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DF170BCB-3373-5549-9815-B668B2498165}"/>
              </a:ext>
            </a:extLst>
          </p:cNvPr>
          <p:cNvSpPr txBox="1">
            <a:spLocks/>
          </p:cNvSpPr>
          <p:nvPr userDrawn="1"/>
        </p:nvSpPr>
        <p:spPr>
          <a:xfrm>
            <a:off x="956929" y="6400799"/>
            <a:ext cx="2150718"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latin typeface="Trebuchet MS" panose="020B0703020202090204" pitchFamily="34" charset="0"/>
              </a:rPr>
              <a:t>Confidential – Internal Use Only</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4" y="6400799"/>
            <a:ext cx="745915"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13" name="Content Placeholder 2">
            <a:extLst>
              <a:ext uri="{FF2B5EF4-FFF2-40B4-BE49-F238E27FC236}">
                <a16:creationId xmlns:a16="http://schemas.microsoft.com/office/drawing/2014/main" id="{57C22B10-6CAF-D149-83A7-C2D46515C468}"/>
              </a:ext>
            </a:extLst>
          </p:cNvPr>
          <p:cNvSpPr>
            <a:spLocks noGrp="1"/>
          </p:cNvSpPr>
          <p:nvPr>
            <p:ph sz="half" idx="11" hasCustomPrompt="1"/>
          </p:nvPr>
        </p:nvSpPr>
        <p:spPr>
          <a:xfrm>
            <a:off x="495300" y="1901951"/>
            <a:ext cx="4033157" cy="3639285"/>
          </a:xfrm>
          <a:prstGeom prst="rect">
            <a:avLst/>
          </a:prstGeom>
        </p:spPr>
        <p:txBody>
          <a:bodyPr anchor="t">
            <a:noAutofit/>
          </a:bodyPr>
          <a:lstStyle>
            <a:lvl1pPr marL="0" indent="0" algn="l">
              <a:lnSpc>
                <a:spcPct val="80000"/>
              </a:lnSpc>
              <a:buNone/>
              <a:defRPr sz="3200" b="1" i="0">
                <a:solidFill>
                  <a:schemeClr val="tx1"/>
                </a:solidFill>
                <a:latin typeface="Trebuchet MS" panose="020B0703020202090204" pitchFamily="34" charset="0"/>
                <a:cs typeface="Trebuchet MS" panose="020B0703020202090204" pitchFamily="34" charset="0"/>
              </a:defRPr>
            </a:lvl1pPr>
          </a:lstStyle>
          <a:p>
            <a:pPr lvl="0"/>
            <a:r>
              <a:rPr lang="en-US" dirty="0"/>
              <a:t>Edit master text styles</a:t>
            </a:r>
          </a:p>
        </p:txBody>
      </p:sp>
      <p:pic>
        <p:nvPicPr>
          <p:cNvPr id="6" name="Picture 5" descr="A picture containing person, indoor&#10;&#10;Description automatically generated">
            <a:extLst>
              <a:ext uri="{FF2B5EF4-FFF2-40B4-BE49-F238E27FC236}">
                <a16:creationId xmlns:a16="http://schemas.microsoft.com/office/drawing/2014/main" id="{5F48932E-3B1B-474B-9512-7DE411C5B9D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5127058" y="0"/>
            <a:ext cx="7064942" cy="6858000"/>
          </a:xfrm>
          <a:prstGeom prst="rect">
            <a:avLst/>
          </a:prstGeom>
        </p:spPr>
      </p:pic>
      <p:pic>
        <p:nvPicPr>
          <p:cNvPr id="8" name="Picture 7" descr="A picture containing text&#10;&#10;Description automatically generated">
            <a:extLst>
              <a:ext uri="{FF2B5EF4-FFF2-40B4-BE49-F238E27FC236}">
                <a16:creationId xmlns:a16="http://schemas.microsoft.com/office/drawing/2014/main" id="{51CBFF64-B4A1-344B-AB45-4A280F7EC11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93151" y="6049872"/>
            <a:ext cx="2270612" cy="849624"/>
          </a:xfrm>
          <a:prstGeom prst="rect">
            <a:avLst/>
          </a:prstGeom>
        </p:spPr>
      </p:pic>
    </p:spTree>
    <p:extLst>
      <p:ext uri="{BB962C8B-B14F-4D97-AF65-F5344CB8AC3E}">
        <p14:creationId xmlns:p14="http://schemas.microsoft.com/office/powerpoint/2010/main" val="335294912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i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dirty="0"/>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4" name="Text Placeholder 3">
            <a:extLst>
              <a:ext uri="{FF2B5EF4-FFF2-40B4-BE49-F238E27FC236}">
                <a16:creationId xmlns:a16="http://schemas.microsoft.com/office/drawing/2014/main" id="{AB1E31CD-65A3-BA4E-9C03-9CCFCA71BB8A}"/>
              </a:ext>
            </a:extLst>
          </p:cNvPr>
          <p:cNvSpPr>
            <a:spLocks noGrp="1"/>
          </p:cNvSpPr>
          <p:nvPr>
            <p:ph type="body" sz="quarter" idx="10"/>
          </p:nvPr>
        </p:nvSpPr>
        <p:spPr>
          <a:xfrm>
            <a:off x="577850" y="1417638"/>
            <a:ext cx="10972800" cy="4422775"/>
          </a:xfrm>
          <a:prstGeom prst="rect">
            <a:avLst/>
          </a:prstGeom>
        </p:spPr>
        <p:txBody>
          <a:bodyPr>
            <a:noAutofit/>
          </a:bodyPr>
          <a:lstStyle>
            <a:lvl1pPr>
              <a:defRPr sz="2000"/>
            </a:lvl1pPr>
            <a:lvl2pPr>
              <a:defRPr sz="1400"/>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descr="A picture containing text&#10;&#10;Description automatically generated">
            <a:extLst>
              <a:ext uri="{FF2B5EF4-FFF2-40B4-BE49-F238E27FC236}">
                <a16:creationId xmlns:a16="http://schemas.microsoft.com/office/drawing/2014/main" id="{DBD3CE20-DD83-1646-A3A3-5473F29ACDF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355629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dirty="0"/>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latin typeface="Trebuchet MS" panose="020B0703020202090204" pitchFamily="34" charset="0"/>
              </a:rPr>
              <a:t>Confidential – Internal Use Only</a:t>
            </a:r>
          </a:p>
        </p:txBody>
      </p:sp>
      <p:cxnSp>
        <p:nvCxnSpPr>
          <p:cNvPr id="14" name="Straight Connector 13">
            <a:extLst>
              <a:ext uri="{FF2B5EF4-FFF2-40B4-BE49-F238E27FC236}">
                <a16:creationId xmlns:a16="http://schemas.microsoft.com/office/drawing/2014/main" id="{8775F5BB-F5E4-F444-B1D5-BA8D666C0827}"/>
              </a:ext>
            </a:extLst>
          </p:cNvPr>
          <p:cNvCxnSpPr>
            <a:cxnSpLocks/>
          </p:cNvCxnSpPr>
          <p:nvPr userDrawn="1"/>
        </p:nvCxnSpPr>
        <p:spPr>
          <a:xfrm>
            <a:off x="5885424" y="1942677"/>
            <a:ext cx="0" cy="4229524"/>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C10DD09-27B1-3B4A-B4A8-4390B6297FE5}"/>
              </a:ext>
            </a:extLst>
          </p:cNvPr>
          <p:cNvSpPr>
            <a:spLocks noGrp="1"/>
          </p:cNvSpPr>
          <p:nvPr>
            <p:ph type="body" sz="quarter" idx="15"/>
          </p:nvPr>
        </p:nvSpPr>
        <p:spPr>
          <a:xfrm>
            <a:off x="577849" y="1942676"/>
            <a:ext cx="5042621"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mn-cs"/>
              </a:rPr>
              <a:t>Click to edit Master text styles</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dirty="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dirty="0">
                <a:ln>
                  <a:noFill/>
                </a:ln>
                <a:solidFill>
                  <a:srgbClr val="54565B"/>
                </a:solidFill>
                <a:effectLst/>
                <a:uLnTx/>
                <a:uFillTx/>
                <a:latin typeface="Georgia" panose="02040502050405020303" pitchFamily="18" charset="0"/>
                <a:ea typeface="+mn-ea"/>
                <a:cs typeface="+mn-cs"/>
              </a:rPr>
              <a:t>Third level</a:t>
            </a:r>
          </a:p>
        </p:txBody>
      </p:sp>
      <p:sp>
        <p:nvSpPr>
          <p:cNvPr id="15" name="Text Placeholder 3">
            <a:extLst>
              <a:ext uri="{FF2B5EF4-FFF2-40B4-BE49-F238E27FC236}">
                <a16:creationId xmlns:a16="http://schemas.microsoft.com/office/drawing/2014/main" id="{7037DFCD-0E35-D440-845D-FF549CF24B73}"/>
              </a:ext>
            </a:extLst>
          </p:cNvPr>
          <p:cNvSpPr>
            <a:spLocks noGrp="1"/>
          </p:cNvSpPr>
          <p:nvPr>
            <p:ph type="body" sz="quarter" idx="16"/>
          </p:nvPr>
        </p:nvSpPr>
        <p:spPr>
          <a:xfrm>
            <a:off x="6151335" y="1942676"/>
            <a:ext cx="5042621"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mn-cs"/>
              </a:rPr>
              <a:t>Click to edit Master text styles</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dirty="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dirty="0">
                <a:ln>
                  <a:noFill/>
                </a:ln>
                <a:solidFill>
                  <a:srgbClr val="54565B"/>
                </a:solidFill>
                <a:effectLst/>
                <a:uLnTx/>
                <a:uFillTx/>
                <a:latin typeface="Georgia" panose="02040502050405020303" pitchFamily="18" charset="0"/>
                <a:ea typeface="+mn-ea"/>
                <a:cs typeface="+mn-cs"/>
              </a:rPr>
              <a:t>Third level</a:t>
            </a:r>
          </a:p>
        </p:txBody>
      </p:sp>
      <p:pic>
        <p:nvPicPr>
          <p:cNvPr id="12" name="Picture 11" descr="A picture containing text&#10;&#10;Description automatically generated">
            <a:extLst>
              <a:ext uri="{FF2B5EF4-FFF2-40B4-BE49-F238E27FC236}">
                <a16:creationId xmlns:a16="http://schemas.microsoft.com/office/drawing/2014/main" id="{1B9D379B-1CB5-FB40-923F-25CED0978A3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619600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dirty="0"/>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latin typeface="Trebuchet MS" panose="020B0703020202090204" pitchFamily="34" charset="0"/>
              </a:rPr>
              <a:t>Confidential – Internal Use Only</a:t>
            </a:r>
          </a:p>
        </p:txBody>
      </p:sp>
      <p:cxnSp>
        <p:nvCxnSpPr>
          <p:cNvPr id="14" name="Straight Connector 13">
            <a:extLst>
              <a:ext uri="{FF2B5EF4-FFF2-40B4-BE49-F238E27FC236}">
                <a16:creationId xmlns:a16="http://schemas.microsoft.com/office/drawing/2014/main" id="{6ADF5480-C0C7-C64C-8BB2-74C63D4DEFC4}"/>
              </a:ext>
            </a:extLst>
          </p:cNvPr>
          <p:cNvCxnSpPr>
            <a:cxnSpLocks/>
          </p:cNvCxnSpPr>
          <p:nvPr userDrawn="1"/>
        </p:nvCxnSpPr>
        <p:spPr>
          <a:xfrm>
            <a:off x="4190736" y="1942677"/>
            <a:ext cx="0" cy="4229524"/>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377EF41-0258-3B45-996A-6490BA874BBD}"/>
              </a:ext>
            </a:extLst>
          </p:cNvPr>
          <p:cNvCxnSpPr>
            <a:cxnSpLocks/>
          </p:cNvCxnSpPr>
          <p:nvPr userDrawn="1"/>
        </p:nvCxnSpPr>
        <p:spPr>
          <a:xfrm>
            <a:off x="7933680" y="1942677"/>
            <a:ext cx="0" cy="4229524"/>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3">
            <a:extLst>
              <a:ext uri="{FF2B5EF4-FFF2-40B4-BE49-F238E27FC236}">
                <a16:creationId xmlns:a16="http://schemas.microsoft.com/office/drawing/2014/main" id="{7238BA6B-E620-AF4F-A0C3-8A5B9D5C11B6}"/>
              </a:ext>
            </a:extLst>
          </p:cNvPr>
          <p:cNvSpPr>
            <a:spLocks noGrp="1"/>
          </p:cNvSpPr>
          <p:nvPr>
            <p:ph type="body" sz="quarter" idx="15" hasCustomPrompt="1"/>
          </p:nvPr>
        </p:nvSpPr>
        <p:spPr>
          <a:xfrm>
            <a:off x="577850" y="1942676"/>
            <a:ext cx="3512910"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sz="1800"/>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mn-cs"/>
              </a:rPr>
              <a:t>Click to edit text</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dirty="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dirty="0">
                <a:ln>
                  <a:noFill/>
                </a:ln>
                <a:solidFill>
                  <a:srgbClr val="54565B"/>
                </a:solidFill>
                <a:effectLst/>
                <a:uLnTx/>
                <a:uFillTx/>
                <a:latin typeface="Georgia" panose="02040502050405020303" pitchFamily="18" charset="0"/>
                <a:ea typeface="+mn-ea"/>
                <a:cs typeface="+mn-cs"/>
              </a:rPr>
              <a:t>Third level</a:t>
            </a:r>
          </a:p>
        </p:txBody>
      </p:sp>
      <p:sp>
        <p:nvSpPr>
          <p:cNvPr id="17" name="Text Placeholder 3">
            <a:extLst>
              <a:ext uri="{FF2B5EF4-FFF2-40B4-BE49-F238E27FC236}">
                <a16:creationId xmlns:a16="http://schemas.microsoft.com/office/drawing/2014/main" id="{CE8F9A4A-9700-2E49-AA7D-4C819732798C}"/>
              </a:ext>
            </a:extLst>
          </p:cNvPr>
          <p:cNvSpPr>
            <a:spLocks noGrp="1"/>
          </p:cNvSpPr>
          <p:nvPr>
            <p:ph type="body" sz="quarter" idx="16" hasCustomPrompt="1"/>
          </p:nvPr>
        </p:nvSpPr>
        <p:spPr>
          <a:xfrm>
            <a:off x="4328757" y="1942676"/>
            <a:ext cx="3512910"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mn-cs"/>
              </a:rPr>
              <a:t>Click to edit text</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dirty="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dirty="0">
                <a:ln>
                  <a:noFill/>
                </a:ln>
                <a:solidFill>
                  <a:srgbClr val="54565B"/>
                </a:solidFill>
                <a:effectLst/>
                <a:uLnTx/>
                <a:uFillTx/>
                <a:latin typeface="Georgia" panose="02040502050405020303" pitchFamily="18" charset="0"/>
                <a:ea typeface="+mn-ea"/>
                <a:cs typeface="+mn-cs"/>
              </a:rPr>
              <a:t>Third level</a:t>
            </a:r>
          </a:p>
        </p:txBody>
      </p:sp>
      <p:sp>
        <p:nvSpPr>
          <p:cNvPr id="18" name="Text Placeholder 3">
            <a:extLst>
              <a:ext uri="{FF2B5EF4-FFF2-40B4-BE49-F238E27FC236}">
                <a16:creationId xmlns:a16="http://schemas.microsoft.com/office/drawing/2014/main" id="{C6FBE4AE-B4C8-AD4B-95AF-CB27A898FEC1}"/>
              </a:ext>
            </a:extLst>
          </p:cNvPr>
          <p:cNvSpPr>
            <a:spLocks noGrp="1"/>
          </p:cNvSpPr>
          <p:nvPr>
            <p:ph type="body" sz="quarter" idx="17" hasCustomPrompt="1"/>
          </p:nvPr>
        </p:nvSpPr>
        <p:spPr>
          <a:xfrm>
            <a:off x="8042340" y="1942676"/>
            <a:ext cx="3512910"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mn-cs"/>
              </a:rPr>
              <a:t>Click to edit text</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dirty="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dirty="0">
                <a:ln>
                  <a:noFill/>
                </a:ln>
                <a:solidFill>
                  <a:srgbClr val="54565B"/>
                </a:solidFill>
                <a:effectLst/>
                <a:uLnTx/>
                <a:uFillTx/>
                <a:latin typeface="Georgia" panose="02040502050405020303" pitchFamily="18" charset="0"/>
                <a:ea typeface="+mn-ea"/>
                <a:cs typeface="+mn-cs"/>
              </a:rPr>
              <a:t>Third level</a:t>
            </a:r>
          </a:p>
        </p:txBody>
      </p:sp>
      <p:pic>
        <p:nvPicPr>
          <p:cNvPr id="13" name="Picture 12" descr="A picture containing text&#10;&#10;Description automatically generated">
            <a:extLst>
              <a:ext uri="{FF2B5EF4-FFF2-40B4-BE49-F238E27FC236}">
                <a16:creationId xmlns:a16="http://schemas.microsoft.com/office/drawing/2014/main" id="{62E86C9E-CB13-FE47-810D-ACC7D44061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232753017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Just Header + Footer">
    <p:spTree>
      <p:nvGrpSpPr>
        <p:cNvPr id="1" name=""/>
        <p:cNvGrpSpPr/>
        <p:nvPr/>
      </p:nvGrpSpPr>
      <p:grpSpPr>
        <a:xfrm>
          <a:off x="0" y="0"/>
          <a:ext cx="0" cy="0"/>
          <a:chOff x="0" y="0"/>
          <a:chExt cx="0" cy="0"/>
        </a:xfrm>
      </p:grpSpPr>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pPr/>
              <a:t>‹#›</a:t>
            </a:fld>
            <a:endParaRPr lang="en-US" dirty="0"/>
          </a:p>
        </p:txBody>
      </p:sp>
      <p:sp>
        <p:nvSpPr>
          <p:cNvPr id="6" name="Title 1">
            <a:extLst>
              <a:ext uri="{FF2B5EF4-FFF2-40B4-BE49-F238E27FC236}">
                <a16:creationId xmlns:a16="http://schemas.microsoft.com/office/drawing/2014/main" id="{F90A82CE-0D18-B941-A735-67EC495377B7}"/>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dirty="0"/>
              <a:t>Click to edit master title style</a:t>
            </a:r>
          </a:p>
        </p:txBody>
      </p:sp>
      <p:pic>
        <p:nvPicPr>
          <p:cNvPr id="7" name="Picture 6" descr="A picture containing text&#10;&#10;Description automatically generated">
            <a:extLst>
              <a:ext uri="{FF2B5EF4-FFF2-40B4-BE49-F238E27FC236}">
                <a16:creationId xmlns:a16="http://schemas.microsoft.com/office/drawing/2014/main" id="{2ECBF799-752D-3A48-BBAE-380CFE2E5BF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83298217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Just Footer">
    <p:spTree>
      <p:nvGrpSpPr>
        <p:cNvPr id="1" name=""/>
        <p:cNvGrpSpPr/>
        <p:nvPr/>
      </p:nvGrpSpPr>
      <p:grpSpPr>
        <a:xfrm>
          <a:off x="0" y="0"/>
          <a:ext cx="0" cy="0"/>
          <a:chOff x="0" y="0"/>
          <a:chExt cx="0" cy="0"/>
        </a:xfrm>
      </p:grpSpPr>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pPr/>
              <a:t>‹#›</a:t>
            </a:fld>
            <a:endParaRPr lang="en-US" dirty="0"/>
          </a:p>
        </p:txBody>
      </p:sp>
      <p:pic>
        <p:nvPicPr>
          <p:cNvPr id="5" name="Picture 4" descr="A picture containing text&#10;&#10;Description automatically generated">
            <a:extLst>
              <a:ext uri="{FF2B5EF4-FFF2-40B4-BE49-F238E27FC236}">
                <a16:creationId xmlns:a16="http://schemas.microsoft.com/office/drawing/2014/main" id="{9EB3994F-086B-D541-830D-38982D59AC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8832635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067590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80354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hite Backgroun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8293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Point -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FCF386F-4435-1E40-A8ED-AFFEAC3031C6}"/>
              </a:ext>
            </a:extLst>
          </p:cNvPr>
          <p:cNvSpPr>
            <a:spLocks noGrp="1"/>
          </p:cNvSpPr>
          <p:nvPr>
            <p:ph type="pic" sz="quarter" idx="13"/>
          </p:nvPr>
        </p:nvSpPr>
        <p:spPr>
          <a:xfrm>
            <a:off x="0" y="0"/>
            <a:ext cx="12192000" cy="6858000"/>
          </a:xfrm>
        </p:spPr>
        <p:txBody>
          <a:bodyPr/>
          <a:lstStyle>
            <a:lvl1pPr>
              <a:defRPr>
                <a:latin typeface="+mj-lt"/>
              </a:defRPr>
            </a:lvl1pPr>
          </a:lstStyle>
          <a:p>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8200" y="3932482"/>
            <a:ext cx="10515600" cy="1895109"/>
          </a:xfrm>
          <a:ln w="3175">
            <a:noFill/>
          </a:ln>
        </p:spPr>
        <p:txBody>
          <a:bodyPr anchor="ctr"/>
          <a:lstStyle>
            <a:lvl1pPr algn="l">
              <a:lnSpc>
                <a:spcPct val="80000"/>
              </a:lnSpc>
              <a:defRPr sz="5500" b="1" i="0" spc="300">
                <a:solidFill>
                  <a:schemeClr val="bg1"/>
                </a:solidFill>
                <a:effectLst>
                  <a:outerShdw blurRad="127000" dist="38100" dir="5400000" algn="t" rotWithShape="0">
                    <a:prstClr val="black"/>
                  </a:outerShdw>
                </a:effectLst>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833D4413-B16E-B048-AA99-4B9BAA9B49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1868878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losing - Add Image">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6" name="Picture Placeholder 4">
            <a:extLst>
              <a:ext uri="{FF2B5EF4-FFF2-40B4-BE49-F238E27FC236}">
                <a16:creationId xmlns:a16="http://schemas.microsoft.com/office/drawing/2014/main" id="{46CC5A0F-1802-5B4A-A4A0-3E3E5F67C291}"/>
              </a:ext>
            </a:extLst>
          </p:cNvPr>
          <p:cNvSpPr>
            <a:spLocks noGrp="1"/>
          </p:cNvSpPr>
          <p:nvPr>
            <p:ph type="pic" sz="quarter" idx="10" hasCustomPrompt="1"/>
          </p:nvPr>
        </p:nvSpPr>
        <p:spPr>
          <a:xfrm>
            <a:off x="-12190" y="-48768"/>
            <a:ext cx="12216446" cy="6894576"/>
          </a:xfrm>
          <a:custGeom>
            <a:avLst/>
            <a:gdLst>
              <a:gd name="connsiteX0" fmla="*/ 0 w 12191998"/>
              <a:gd name="connsiteY0" fmla="*/ 0 h 6858000"/>
              <a:gd name="connsiteX1" fmla="*/ 11048975 w 12191998"/>
              <a:gd name="connsiteY1" fmla="*/ 0 h 6858000"/>
              <a:gd name="connsiteX2" fmla="*/ 12191998 w 12191998"/>
              <a:gd name="connsiteY2" fmla="*/ 1143023 h 6858000"/>
              <a:gd name="connsiteX3" fmla="*/ 12191998 w 12191998"/>
              <a:gd name="connsiteY3" fmla="*/ 6858000 h 6858000"/>
              <a:gd name="connsiteX4" fmla="*/ 0 w 12191998"/>
              <a:gd name="connsiteY4" fmla="*/ 6858000 h 6858000"/>
              <a:gd name="connsiteX5" fmla="*/ 0 w 12191998"/>
              <a:gd name="connsiteY5" fmla="*/ 0 h 6858000"/>
              <a:gd name="connsiteX0" fmla="*/ 0 w 12195023"/>
              <a:gd name="connsiteY0" fmla="*/ 12192 h 6870192"/>
              <a:gd name="connsiteX1" fmla="*/ 12195023 w 12195023"/>
              <a:gd name="connsiteY1" fmla="*/ 0 h 6870192"/>
              <a:gd name="connsiteX2" fmla="*/ 12191998 w 12195023"/>
              <a:gd name="connsiteY2" fmla="*/ 1155215 h 6870192"/>
              <a:gd name="connsiteX3" fmla="*/ 12191998 w 12195023"/>
              <a:gd name="connsiteY3" fmla="*/ 6870192 h 6870192"/>
              <a:gd name="connsiteX4" fmla="*/ 0 w 12195023"/>
              <a:gd name="connsiteY4" fmla="*/ 6870192 h 6870192"/>
              <a:gd name="connsiteX5" fmla="*/ 0 w 12195023"/>
              <a:gd name="connsiteY5" fmla="*/ 12192 h 6870192"/>
              <a:gd name="connsiteX0" fmla="*/ 0 w 12195023"/>
              <a:gd name="connsiteY0" fmla="*/ 12192 h 6870192"/>
              <a:gd name="connsiteX1" fmla="*/ 12195023 w 12195023"/>
              <a:gd name="connsiteY1" fmla="*/ 0 h 6870192"/>
              <a:gd name="connsiteX2" fmla="*/ 12191998 w 12195023"/>
              <a:gd name="connsiteY2" fmla="*/ 1155215 h 6870192"/>
              <a:gd name="connsiteX3" fmla="*/ 5974078 w 12195023"/>
              <a:gd name="connsiteY3" fmla="*/ 6870192 h 6870192"/>
              <a:gd name="connsiteX4" fmla="*/ 0 w 12195023"/>
              <a:gd name="connsiteY4" fmla="*/ 6870192 h 6870192"/>
              <a:gd name="connsiteX5" fmla="*/ 0 w 12195023"/>
              <a:gd name="connsiteY5" fmla="*/ 12192 h 6870192"/>
              <a:gd name="connsiteX0" fmla="*/ 0 w 12204254"/>
              <a:gd name="connsiteY0" fmla="*/ 12192 h 6870192"/>
              <a:gd name="connsiteX1" fmla="*/ 12195023 w 12204254"/>
              <a:gd name="connsiteY1" fmla="*/ 0 h 6870192"/>
              <a:gd name="connsiteX2" fmla="*/ 12204190 w 12204254"/>
              <a:gd name="connsiteY2" fmla="*/ 5702831 h 6870192"/>
              <a:gd name="connsiteX3" fmla="*/ 5974078 w 12204254"/>
              <a:gd name="connsiteY3" fmla="*/ 6870192 h 6870192"/>
              <a:gd name="connsiteX4" fmla="*/ 0 w 12204254"/>
              <a:gd name="connsiteY4" fmla="*/ 6870192 h 6870192"/>
              <a:gd name="connsiteX5" fmla="*/ 0 w 12204254"/>
              <a:gd name="connsiteY5" fmla="*/ 12192 h 6870192"/>
              <a:gd name="connsiteX0" fmla="*/ 0 w 12204254"/>
              <a:gd name="connsiteY0" fmla="*/ 12192 h 6894576"/>
              <a:gd name="connsiteX1" fmla="*/ 12195023 w 12204254"/>
              <a:gd name="connsiteY1" fmla="*/ 0 h 6894576"/>
              <a:gd name="connsiteX2" fmla="*/ 12204190 w 12204254"/>
              <a:gd name="connsiteY2" fmla="*/ 5702831 h 6894576"/>
              <a:gd name="connsiteX3" fmla="*/ 3572254 w 12204254"/>
              <a:gd name="connsiteY3" fmla="*/ 6894576 h 6894576"/>
              <a:gd name="connsiteX4" fmla="*/ 0 w 12204254"/>
              <a:gd name="connsiteY4" fmla="*/ 6870192 h 6894576"/>
              <a:gd name="connsiteX5" fmla="*/ 0 w 12204254"/>
              <a:gd name="connsiteY5" fmla="*/ 12192 h 6894576"/>
              <a:gd name="connsiteX0" fmla="*/ 12192 w 12216446"/>
              <a:gd name="connsiteY0" fmla="*/ 12192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12192 w 12216446"/>
              <a:gd name="connsiteY5" fmla="*/ 12192 h 689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16446" h="6894576">
                <a:moveTo>
                  <a:pt x="12192" y="12192"/>
                </a:moveTo>
                <a:lnTo>
                  <a:pt x="12207215" y="0"/>
                </a:lnTo>
                <a:cubicBezTo>
                  <a:pt x="12206207" y="385072"/>
                  <a:pt x="12217390" y="5317759"/>
                  <a:pt x="12216382" y="5702831"/>
                </a:cubicBezTo>
                <a:lnTo>
                  <a:pt x="3584446" y="6894576"/>
                </a:lnTo>
                <a:lnTo>
                  <a:pt x="0" y="5724144"/>
                </a:lnTo>
                <a:lnTo>
                  <a:pt x="12192" y="12192"/>
                </a:lnTo>
                <a:close/>
              </a:path>
            </a:pathLst>
          </a:custGeom>
        </p:spPr>
        <p:txBody>
          <a:bodyPr anchor="ctr"/>
          <a:lstStyle>
            <a:lvl1pPr marL="0" indent="0" algn="ctr">
              <a:buNone/>
              <a:defRPr/>
            </a:lvl1pPr>
          </a:lstStyle>
          <a:p>
            <a:r>
              <a:rPr lang="en-US" dirty="0"/>
              <a:t>Insert photo by clicking on the image icon</a:t>
            </a:r>
          </a:p>
        </p:txBody>
      </p:sp>
      <p:pic>
        <p:nvPicPr>
          <p:cNvPr id="5" name="Picture 4" descr="A picture containing text&#10;&#10;Description automatically generated">
            <a:extLst>
              <a:ext uri="{FF2B5EF4-FFF2-40B4-BE49-F238E27FC236}">
                <a16:creationId xmlns:a16="http://schemas.microsoft.com/office/drawing/2014/main" id="{94DCBA6C-5F47-CF46-AC86-06DFC71288B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6298185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1" y="0"/>
            <a:ext cx="12191998" cy="6858000"/>
          </a:xfrm>
        </p:spPr>
        <p:txBody>
          <a:bodyPr/>
          <a:lstStyle/>
          <a:p>
            <a:endParaRPr lang="en-US"/>
          </a:p>
        </p:txBody>
      </p:sp>
      <p:sp>
        <p:nvSpPr>
          <p:cNvPr id="8" name="Content Placeholder 2">
            <a:extLst>
              <a:ext uri="{FF2B5EF4-FFF2-40B4-BE49-F238E27FC236}">
                <a16:creationId xmlns:a16="http://schemas.microsoft.com/office/drawing/2014/main" id="{F33E1CBD-1A22-C34C-8DC4-474E34B2CDFB}"/>
              </a:ext>
            </a:extLst>
          </p:cNvPr>
          <p:cNvSpPr>
            <a:spLocks noGrp="1"/>
          </p:cNvSpPr>
          <p:nvPr>
            <p:ph sz="half" idx="1" hasCustomPrompt="1"/>
          </p:nvPr>
        </p:nvSpPr>
        <p:spPr>
          <a:xfrm>
            <a:off x="0" y="957364"/>
            <a:ext cx="5939883" cy="4943272"/>
          </a:xfrm>
          <a:solidFill>
            <a:srgbClr val="C50F3C"/>
          </a:solidFill>
        </p:spPr>
        <p:txBody>
          <a:bodyPr lIns="914400" tIns="914400" rIns="914400" bIns="914400" anchor="ctr">
            <a:normAutofit/>
          </a:bodyPr>
          <a:lstStyle>
            <a:lvl1pPr algn="l">
              <a:lnSpc>
                <a:spcPct val="80000"/>
              </a:lnSpc>
              <a:defRPr sz="32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spTree>
    <p:extLst>
      <p:ext uri="{BB962C8B-B14F-4D97-AF65-F5344CB8AC3E}">
        <p14:creationId xmlns:p14="http://schemas.microsoft.com/office/powerpoint/2010/main" val="26212419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C5E49E7-6ADE-DD40-AD32-5A28176B24BC}"/>
              </a:ext>
            </a:extLst>
          </p:cNvPr>
          <p:cNvSpPr/>
          <p:nvPr userDrawn="1"/>
        </p:nvSpPr>
        <p:spPr>
          <a:xfrm>
            <a:off x="4249783" y="0"/>
            <a:ext cx="7942218"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8">
            <a:extLst>
              <a:ext uri="{FF2B5EF4-FFF2-40B4-BE49-F238E27FC236}">
                <a16:creationId xmlns:a16="http://schemas.microsoft.com/office/drawing/2014/main" id="{A45C0A2E-84ED-694A-8D40-40A9466155D7}"/>
              </a:ext>
            </a:extLst>
          </p:cNvPr>
          <p:cNvSpPr/>
          <p:nvPr userDrawn="1"/>
        </p:nvSpPr>
        <p:spPr>
          <a:xfrm>
            <a:off x="0" y="0"/>
            <a:ext cx="424978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397294" cy="4351338"/>
          </a:xfrm>
        </p:spPr>
        <p:txBody>
          <a:bodyPr anchor="ctr">
            <a:normAutofit/>
          </a:bodyPr>
          <a:lstStyle>
            <a:lvl1pPr algn="l">
              <a:lnSpc>
                <a:spcPct val="80000"/>
              </a:lnSpc>
              <a:defRPr sz="5000" b="1" i="0" spc="300">
                <a:solidFill>
                  <a:schemeClr val="bg1"/>
                </a:solidFill>
                <a:latin typeface="+mj-lt"/>
                <a:cs typeface="Rockwell Nova Light" panose="02060303020205020403" pitchFamily="18" charset="0"/>
              </a:defRPr>
            </a:lvl1pPr>
          </a:lstStyle>
          <a:p>
            <a:pPr lvl="0"/>
            <a:r>
              <a:rPr lang="en-US"/>
              <a:t>Edit master text styles</a:t>
            </a:r>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12" name="Text Placeholder 11">
            <a:extLst>
              <a:ext uri="{FF2B5EF4-FFF2-40B4-BE49-F238E27FC236}">
                <a16:creationId xmlns:a16="http://schemas.microsoft.com/office/drawing/2014/main" id="{CAEB27AF-DD57-7246-971E-7506C050812B}"/>
              </a:ext>
            </a:extLst>
          </p:cNvPr>
          <p:cNvSpPr>
            <a:spLocks noGrp="1"/>
          </p:cNvSpPr>
          <p:nvPr>
            <p:ph type="body" sz="quarter" idx="13" hasCustomPrompt="1"/>
          </p:nvPr>
        </p:nvSpPr>
        <p:spPr>
          <a:xfrm>
            <a:off x="4606972" y="781844"/>
            <a:ext cx="7157992" cy="5294312"/>
          </a:xfrm>
        </p:spPr>
        <p:txBody>
          <a:bodyPr anchor="ctr"/>
          <a:lstStyle>
            <a:lvl1pPr marL="457200" indent="-457200">
              <a:lnSpc>
                <a:spcPct val="110000"/>
              </a:lnSpc>
              <a:buFont typeface="+mj-lt"/>
              <a:buAutoNum type="arabicPeriod"/>
              <a:defRPr>
                <a:latin typeface="+mn-lt"/>
              </a:defRPr>
            </a:lvl1pPr>
            <a:lvl2pPr marL="800100" indent="-331788">
              <a:lnSpc>
                <a:spcPct val="110000"/>
              </a:lnSpc>
              <a:buFont typeface="+mj-lt"/>
              <a:buAutoNum type="alphaLcPeriod"/>
              <a:tabLst/>
              <a:defRPr>
                <a:solidFill>
                  <a:schemeClr val="tx1"/>
                </a:solidFill>
                <a:latin typeface="+mn-lt"/>
              </a:defRPr>
            </a:lvl2pPr>
            <a:lvl3pPr marL="865188" indent="-342900">
              <a:buFont typeface="+mj-lt"/>
              <a:buAutoNum type="arabicPeriod"/>
              <a:defRPr/>
            </a:lvl3pPr>
            <a:lvl4pPr marL="1204913" indent="-342900">
              <a:buFont typeface="+mj-lt"/>
              <a:buAutoNum type="arabicPeriod"/>
              <a:defRPr/>
            </a:lvl4pPr>
            <a:lvl5pPr marL="1430338" indent="-228600">
              <a:buFont typeface="+mj-lt"/>
              <a:buAutoNum type="arabicPeriod"/>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5989782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6.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2.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theme" Target="../theme/theme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8"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5D506E-9CFA-5744-8CC1-366D985D6FC1}"/>
              </a:ext>
            </a:extLst>
          </p:cNvPr>
          <p:cNvSpPr>
            <a:spLocks noGrp="1"/>
          </p:cNvSpPr>
          <p:nvPr>
            <p:ph type="title"/>
          </p:nvPr>
        </p:nvSpPr>
        <p:spPr>
          <a:xfrm>
            <a:off x="609600" y="365126"/>
            <a:ext cx="10924674" cy="967564"/>
          </a:xfrm>
          <a:prstGeom prst="rect">
            <a:avLst/>
          </a:prstGeom>
        </p:spPr>
        <p:txBody>
          <a:bodyPr vert="horz" lIns="91440" tIns="45720" rIns="91440" bIns="45720" rtlCol="0" anchor="b">
            <a:noAutofit/>
          </a:bodyPr>
          <a:lstStyle/>
          <a:p>
            <a:r>
              <a:rPr lang="en-US"/>
              <a:t>Master Slide Template – Click to Edit</a:t>
            </a:r>
          </a:p>
        </p:txBody>
      </p:sp>
      <p:sp>
        <p:nvSpPr>
          <p:cNvPr id="3" name="Text Placeholder 2">
            <a:extLst>
              <a:ext uri="{FF2B5EF4-FFF2-40B4-BE49-F238E27FC236}">
                <a16:creationId xmlns:a16="http://schemas.microsoft.com/office/drawing/2014/main" id="{AA4A9B1D-8809-B740-A68B-9969B712A0DA}"/>
              </a:ext>
            </a:extLst>
          </p:cNvPr>
          <p:cNvSpPr>
            <a:spLocks noGrp="1"/>
          </p:cNvSpPr>
          <p:nvPr>
            <p:ph type="body" idx="1"/>
          </p:nvPr>
        </p:nvSpPr>
        <p:spPr>
          <a:xfrm>
            <a:off x="609600" y="1942677"/>
            <a:ext cx="10924674" cy="4234286"/>
          </a:xfrm>
          <a:prstGeom prst="rect">
            <a:avLst/>
          </a:prstGeom>
        </p:spPr>
        <p:txBody>
          <a:bodyPr vert="horz" lIns="91440" tIns="45720" rIns="91440" bIns="45720" rtlCol="0">
            <a:noAutofit/>
          </a:bodyPr>
          <a:lstStyle/>
          <a:p>
            <a:pPr lvl="0"/>
            <a:r>
              <a:rPr lang="en-US"/>
              <a:t>Edit Master text styles</a:t>
            </a:r>
          </a:p>
          <a:p>
            <a:pPr marL="15875" lvl="1" indent="0" algn="l" defTabSz="914400" rtl="0" eaLnBrk="1" latinLnBrk="0" hangingPunct="1">
              <a:lnSpc>
                <a:spcPct val="110000"/>
              </a:lnSpc>
              <a:spcBef>
                <a:spcPts val="0"/>
              </a:spcBef>
              <a:spcAft>
                <a:spcPts val="600"/>
              </a:spcAft>
              <a:buFont typeface="Apple Symbols" panose="02000000000000000000" pitchFamily="2" charset="-79"/>
              <a:buNone/>
              <a:tabLst/>
            </a:pPr>
            <a:r>
              <a:rPr lang="en-US"/>
              <a:t>Second level</a:t>
            </a:r>
          </a:p>
          <a:p>
            <a:pPr marL="287338" lvl="2" indent="-169863" algn="l" defTabSz="914400" rtl="0" eaLnBrk="1" latinLnBrk="0" hangingPunct="1">
              <a:lnSpc>
                <a:spcPct val="110000"/>
              </a:lnSpc>
              <a:spcBef>
                <a:spcPts val="0"/>
              </a:spcBef>
              <a:spcAft>
                <a:spcPts val="600"/>
              </a:spcAft>
              <a:buFont typeface="Apple Symbols" panose="02000000000000000000" pitchFamily="2" charset="-79"/>
              <a:buChar char="⎼"/>
              <a:tabLst/>
            </a:pPr>
            <a:r>
              <a:rPr lang="en-US"/>
              <a:t>Third level</a:t>
            </a:r>
          </a:p>
          <a:p>
            <a:pPr marL="693738" lvl="3" indent="-169863" algn="l" defTabSz="914400" rtl="0" eaLnBrk="1" latinLnBrk="0" hangingPunct="1">
              <a:lnSpc>
                <a:spcPct val="110000"/>
              </a:lnSpc>
              <a:spcBef>
                <a:spcPts val="0"/>
              </a:spcBef>
              <a:spcAft>
                <a:spcPts val="600"/>
              </a:spcAft>
              <a:buFont typeface="Apple Symbols" panose="02000000000000000000" pitchFamily="2" charset="-79"/>
              <a:buChar char="⎼"/>
              <a:tabLst/>
            </a:pPr>
            <a:r>
              <a:rPr lang="en-US"/>
              <a:t>Fourth level</a:t>
            </a: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b="0" i="0">
                <a:solidFill>
                  <a:schemeClr val="bg2"/>
                </a:solidFill>
                <a:latin typeface="+mn-lt"/>
              </a:defRPr>
            </a:lvl1pPr>
          </a:lstStyle>
          <a:p>
            <a:fld id="{4BEAA09E-D67E-864E-8466-C38E88600C4F}" type="slidenum">
              <a:rPr lang="en-US" smtClean="0"/>
              <a:pPr/>
              <a:t>‹#›</a:t>
            </a:fld>
            <a:endParaRPr lang="en-US"/>
          </a:p>
        </p:txBody>
      </p:sp>
      <p:sp>
        <p:nvSpPr>
          <p:cNvPr id="4" name="Slide Number Placeholder 5">
            <a:extLst>
              <a:ext uri="{FF2B5EF4-FFF2-40B4-BE49-F238E27FC236}">
                <a16:creationId xmlns:a16="http://schemas.microsoft.com/office/drawing/2014/main" id="{BA977F55-BA93-AC10-0019-FFFA6CE76162}"/>
              </a:ext>
            </a:extLst>
          </p:cNvPr>
          <p:cNvSpPr txBox="1">
            <a:spLocks/>
          </p:cNvSpPr>
          <p:nvPr userDrawn="1"/>
        </p:nvSpPr>
        <p:spPr>
          <a:xfrm>
            <a:off x="4700337" y="6577071"/>
            <a:ext cx="3132656"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solidFill>
                  <a:srgbClr val="787A7E"/>
                </a:solidFill>
                <a:latin typeface="Trebuchet MS" panose="020B0703020202090204" pitchFamily="34" charset="0"/>
              </a:rPr>
              <a:t>External Use and Distribution </a:t>
            </a:r>
          </a:p>
          <a:p>
            <a:pPr algn="ctr"/>
            <a:r>
              <a:rPr lang="en-US" b="0" i="0" dirty="0">
                <a:solidFill>
                  <a:srgbClr val="787A7E"/>
                </a:solidFill>
                <a:effectLst/>
                <a:latin typeface="Trebuchet MS" panose="020B0603020202020204" pitchFamily="34" charset="0"/>
              </a:rPr>
              <a:t>SE-TRO-0170 Date of preparation April 2024</a:t>
            </a:r>
            <a:endParaRPr lang="en-US" b="0" i="0" dirty="0">
              <a:solidFill>
                <a:srgbClr val="787A7E"/>
              </a:solidFill>
              <a:latin typeface="Trebuchet MS" panose="020B0603020202020204" pitchFamily="34" charset="0"/>
            </a:endParaRPr>
          </a:p>
        </p:txBody>
      </p:sp>
    </p:spTree>
    <p:extLst>
      <p:ext uri="{BB962C8B-B14F-4D97-AF65-F5344CB8AC3E}">
        <p14:creationId xmlns:p14="http://schemas.microsoft.com/office/powerpoint/2010/main" val="17461833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98" r:id="rId26"/>
    <p:sldLayoutId id="2147483983" r:id="rId27"/>
  </p:sldLayoutIdLst>
  <p:hf sldNum="0" hdr="0" ftr="0" dt="0"/>
  <p:txStyles>
    <p:titleStyle>
      <a:lvl1pPr algn="l" defTabSz="914400" rtl="0" eaLnBrk="1" latinLnBrk="0" hangingPunct="1">
        <a:lnSpc>
          <a:spcPct val="90000"/>
        </a:lnSpc>
        <a:spcBef>
          <a:spcPct val="0"/>
        </a:spcBef>
        <a:buNone/>
        <a:defRPr sz="3600" b="1" i="0" kern="800" spc="0" baseline="0">
          <a:solidFill>
            <a:schemeClr val="accent1"/>
          </a:solidFill>
          <a:latin typeface="+mj-lt"/>
          <a:ea typeface="+mj-ea"/>
          <a:cs typeface="Trebuchet MS" panose="020B0703020202090204" pitchFamily="34" charset="0"/>
        </a:defRPr>
      </a:lvl1pPr>
    </p:titleStyle>
    <p:bodyStyle>
      <a:lvl1pPr marL="0" indent="0" algn="l" defTabSz="914400" rtl="0" eaLnBrk="1" latinLnBrk="0" hangingPunct="1">
        <a:lnSpc>
          <a:spcPct val="114000"/>
        </a:lnSpc>
        <a:spcBef>
          <a:spcPts val="0"/>
        </a:spcBef>
        <a:spcAft>
          <a:spcPts val="600"/>
        </a:spcAft>
        <a:buFont typeface="Arial" panose="020B0604020202020204" pitchFamily="34" charset="0"/>
        <a:buNone/>
        <a:defRPr sz="2000" b="0" i="0" kern="1600" spc="-50" baseline="0">
          <a:solidFill>
            <a:schemeClr val="tx1"/>
          </a:solidFill>
          <a:latin typeface="+mn-lt"/>
          <a:ea typeface="+mn-ea"/>
          <a:cs typeface="+mn-cs"/>
        </a:defRPr>
      </a:lvl1pPr>
      <a:lvl2pPr marL="290513" indent="-174625" algn="l" defTabSz="914400" rtl="0" eaLnBrk="1" latinLnBrk="0" hangingPunct="1">
        <a:lnSpc>
          <a:spcPct val="114000"/>
        </a:lnSpc>
        <a:spcBef>
          <a:spcPts val="0"/>
        </a:spcBef>
        <a:spcAft>
          <a:spcPts val="600"/>
        </a:spcAft>
        <a:buFont typeface="Apple Symbols" panose="02000000000000000000" pitchFamily="2" charset="-79"/>
        <a:buChar char="⎼"/>
        <a:tabLst/>
        <a:defRPr lang="en-US" sz="1800" b="0" i="1" kern="1600" spc="-50" baseline="0" dirty="0">
          <a:solidFill>
            <a:schemeClr val="tx1"/>
          </a:solidFill>
          <a:latin typeface="+mn-lt"/>
          <a:ea typeface="+mn-ea"/>
          <a:cs typeface="+mn-cs"/>
        </a:defRPr>
      </a:lvl2pPr>
      <a:lvl3pPr marL="4032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600" b="0" i="0" kern="1600" spc="-50" baseline="0" dirty="0">
          <a:solidFill>
            <a:schemeClr val="tx1"/>
          </a:solidFill>
          <a:latin typeface="+mn-lt"/>
          <a:ea typeface="+mn-ea"/>
          <a:cs typeface="+mn-cs"/>
        </a:defRPr>
      </a:lvl3pPr>
      <a:lvl4pPr marL="8096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400" b="0" i="0" kern="1600" spc="-50" baseline="0" dirty="0">
          <a:solidFill>
            <a:schemeClr val="tx1"/>
          </a:solidFill>
          <a:latin typeface="+mn-lt"/>
          <a:ea typeface="+mn-ea"/>
          <a:cs typeface="+mn-cs"/>
        </a:defRPr>
      </a:lvl4pPr>
      <a:lvl5pPr marL="1376363" indent="-174625" algn="l" defTabSz="914400" rtl="0" eaLnBrk="1" latinLnBrk="0" hangingPunct="1">
        <a:lnSpc>
          <a:spcPct val="114000"/>
        </a:lnSpc>
        <a:spcBef>
          <a:spcPts val="0"/>
        </a:spcBef>
        <a:spcAft>
          <a:spcPts val="600"/>
        </a:spcAft>
        <a:buFont typeface="Apple Symbols" panose="02000000000000000000" pitchFamily="2" charset="-79"/>
        <a:buChar char="⎼"/>
        <a:tabLst/>
        <a:defRPr sz="12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CDB3AEF-F079-78D8-3804-D72FF1F97AD1}"/>
              </a:ext>
            </a:extLst>
          </p:cNvPr>
          <p:cNvSpPr/>
          <p:nvPr userDrawn="1"/>
        </p:nvSpPr>
        <p:spPr>
          <a:xfrm>
            <a:off x="0" y="-1"/>
            <a:ext cx="12192000" cy="6858001"/>
          </a:xfrm>
          <a:prstGeom prst="rect">
            <a:avLst/>
          </a:prstGeom>
          <a:gradFill flip="none" rotWithShape="1">
            <a:gsLst>
              <a:gs pos="0">
                <a:schemeClr val="accent1">
                  <a:lumMod val="5000"/>
                  <a:lumOff val="95000"/>
                </a:schemeClr>
              </a:gs>
              <a:gs pos="100000">
                <a:schemeClr val="accent1">
                  <a:lumMod val="30000"/>
                  <a:lumOff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red and blue logo&#10;&#10;Description automatically generated">
            <a:extLst>
              <a:ext uri="{FF2B5EF4-FFF2-40B4-BE49-F238E27FC236}">
                <a16:creationId xmlns:a16="http://schemas.microsoft.com/office/drawing/2014/main" id="{C90098E6-254E-6B10-BCC0-7A2F1B78FEF3}"/>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267591" y="238450"/>
            <a:ext cx="2248412" cy="1511644"/>
          </a:xfrm>
          <a:prstGeom prst="rect">
            <a:avLst/>
          </a:prstGeom>
        </p:spPr>
      </p:pic>
      <p:pic>
        <p:nvPicPr>
          <p:cNvPr id="2" name="Picture 1" descr="A picture containing text&#10;&#10;Description automatically generated">
            <a:extLst>
              <a:ext uri="{FF2B5EF4-FFF2-40B4-BE49-F238E27FC236}">
                <a16:creationId xmlns:a16="http://schemas.microsoft.com/office/drawing/2014/main" id="{2A26F14D-E8F2-585F-BCD6-10DCCBAA0D59}"/>
              </a:ext>
            </a:extLst>
          </p:cNvPr>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2013745668"/>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5D506E-9CFA-5744-8CC1-366D985D6FC1}"/>
              </a:ext>
            </a:extLst>
          </p:cNvPr>
          <p:cNvSpPr>
            <a:spLocks noGrp="1"/>
          </p:cNvSpPr>
          <p:nvPr>
            <p:ph type="title"/>
          </p:nvPr>
        </p:nvSpPr>
        <p:spPr>
          <a:xfrm>
            <a:off x="609600" y="365126"/>
            <a:ext cx="10924674" cy="967564"/>
          </a:xfrm>
          <a:prstGeom prst="rect">
            <a:avLst/>
          </a:prstGeom>
        </p:spPr>
        <p:txBody>
          <a:bodyPr vert="horz" lIns="91440" tIns="45720" rIns="91440" bIns="45720" rtlCol="0" anchor="b">
            <a:noAutofit/>
          </a:bodyPr>
          <a:lstStyle/>
          <a:p>
            <a:r>
              <a:rPr lang="en-US" dirty="0"/>
              <a:t>Master Slide Template – Click to Edit</a:t>
            </a: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b="0" i="0">
                <a:solidFill>
                  <a:schemeClr val="bg2"/>
                </a:solidFill>
                <a:latin typeface="Trebuchet MS" panose="020B0703020202090204" pitchFamily="34" charset="0"/>
              </a:defRPr>
            </a:lvl1pPr>
          </a:lstStyle>
          <a:p>
            <a:br>
              <a:rPr lang="en-US" dirty="0"/>
            </a:br>
            <a:endParaRPr lang="en-US" dirty="0"/>
          </a:p>
        </p:txBody>
      </p:sp>
      <p:sp>
        <p:nvSpPr>
          <p:cNvPr id="7" name="Text Placeholder 6">
            <a:extLst>
              <a:ext uri="{FF2B5EF4-FFF2-40B4-BE49-F238E27FC236}">
                <a16:creationId xmlns:a16="http://schemas.microsoft.com/office/drawing/2014/main" id="{F635B3DB-1668-A548-94F3-5254895534FE}"/>
              </a:ext>
            </a:extLst>
          </p:cNvPr>
          <p:cNvSpPr>
            <a:spLocks noGrp="1"/>
          </p:cNvSpPr>
          <p:nvPr>
            <p:ph type="body" idx="1"/>
          </p:nvPr>
        </p:nvSpPr>
        <p:spPr>
          <a:xfrm>
            <a:off x="609599" y="1455576"/>
            <a:ext cx="10924673" cy="472138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E86E0CE1-C616-A0D9-E685-A4A8D7720EE5}"/>
              </a:ext>
            </a:extLst>
          </p:cNvPr>
          <p:cNvSpPr txBox="1">
            <a:spLocks/>
          </p:cNvSpPr>
          <p:nvPr userDrawn="1"/>
        </p:nvSpPr>
        <p:spPr>
          <a:xfrm>
            <a:off x="4700337" y="6577071"/>
            <a:ext cx="3132656"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solidFill>
                  <a:srgbClr val="787A7E"/>
                </a:solidFill>
                <a:latin typeface="Trebuchet MS" panose="020B0703020202090204" pitchFamily="34" charset="0"/>
              </a:rPr>
              <a:t>External Use and Distribution </a:t>
            </a:r>
          </a:p>
          <a:p>
            <a:pPr algn="ctr"/>
            <a:r>
              <a:rPr lang="en-US" b="0" i="0" dirty="0">
                <a:solidFill>
                  <a:srgbClr val="787A7E"/>
                </a:solidFill>
                <a:effectLst/>
                <a:latin typeface="Trebuchet MS" panose="020B0603020202020204" pitchFamily="34" charset="0"/>
              </a:rPr>
              <a:t>SE-TRO-0170 Date of preparation April 2024</a:t>
            </a:r>
            <a:endParaRPr lang="en-US" b="0" i="0" dirty="0">
              <a:solidFill>
                <a:srgbClr val="787A7E"/>
              </a:solidFill>
              <a:latin typeface="Trebuchet MS" panose="020B0603020202020204" pitchFamily="34" charset="0"/>
            </a:endParaRPr>
          </a:p>
        </p:txBody>
      </p:sp>
    </p:spTree>
    <p:extLst>
      <p:ext uri="{BB962C8B-B14F-4D97-AF65-F5344CB8AC3E}">
        <p14:creationId xmlns:p14="http://schemas.microsoft.com/office/powerpoint/2010/main" val="463957387"/>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 id="2147484054" r:id="rId19"/>
    <p:sldLayoutId id="2147484055" r:id="rId20"/>
    <p:sldLayoutId id="2147484056" r:id="rId21"/>
    <p:sldLayoutId id="2147484057" r:id="rId22"/>
    <p:sldLayoutId id="2147484058" r:id="rId23"/>
    <p:sldLayoutId id="2147484059" r:id="rId24"/>
    <p:sldLayoutId id="2147484060" r:id="rId25"/>
    <p:sldLayoutId id="2147484061" r:id="rId26"/>
    <p:sldLayoutId id="2147484062" r:id="rId27"/>
    <p:sldLayoutId id="2147484063" r:id="rId28"/>
    <p:sldLayoutId id="2147484064" r:id="rId29"/>
    <p:sldLayoutId id="2147484065" r:id="rId30"/>
    <p:sldLayoutId id="2147484066" r:id="rId31"/>
    <p:sldLayoutId id="2147484067" r:id="rId32"/>
  </p:sldLayoutIdLst>
  <p:hf hdr="0" ftr="0" dt="0"/>
  <p:txStyles>
    <p:titleStyle>
      <a:lvl1pPr algn="l" defTabSz="914400" rtl="0" eaLnBrk="1" latinLnBrk="0" hangingPunct="1">
        <a:lnSpc>
          <a:spcPct val="90000"/>
        </a:lnSpc>
        <a:spcBef>
          <a:spcPct val="0"/>
        </a:spcBef>
        <a:buNone/>
        <a:defRPr sz="3600" b="1" i="0" kern="800" spc="0" baseline="0">
          <a:solidFill>
            <a:schemeClr val="accent1"/>
          </a:solidFill>
          <a:latin typeface="Trebuchet MS" panose="020B0703020202090204" pitchFamily="34" charset="0"/>
          <a:ea typeface="+mj-ea"/>
          <a:cs typeface="Trebuchet MS" panose="020B0703020202090204" pitchFamily="34" charset="0"/>
        </a:defRPr>
      </a:lvl1pPr>
    </p:titleStyle>
    <p:bodyStyle>
      <a:lvl1pPr marL="342900" indent="-342900" algn="l" defTabSz="914400" rtl="0" eaLnBrk="1" latinLnBrk="0" hangingPunct="1">
        <a:lnSpc>
          <a:spcPct val="114000"/>
        </a:lnSpc>
        <a:spcBef>
          <a:spcPts val="0"/>
        </a:spcBef>
        <a:spcAft>
          <a:spcPts val="600"/>
        </a:spcAft>
        <a:buClr>
          <a:schemeClr val="tx1"/>
        </a:buClr>
        <a:buSzPct val="65000"/>
        <a:buFont typeface="Monaco" pitchFamily="2" charset="77"/>
        <a:buChar char="⎻"/>
        <a:defRPr sz="2000" b="0" i="0" kern="1600" spc="-50" baseline="0">
          <a:solidFill>
            <a:schemeClr val="tx1"/>
          </a:solidFill>
          <a:latin typeface="Trebuchet MS" panose="020B0703020202090204" pitchFamily="34" charset="0"/>
          <a:ea typeface="+mn-ea"/>
          <a:cs typeface="+mn-cs"/>
        </a:defRPr>
      </a:lvl1pPr>
      <a:lvl2pPr marL="675958" indent="-285750" algn="l" defTabSz="914400" rtl="0" eaLnBrk="1" latinLnBrk="0" hangingPunct="1">
        <a:lnSpc>
          <a:spcPct val="114000"/>
        </a:lnSpc>
        <a:spcBef>
          <a:spcPts val="0"/>
        </a:spcBef>
        <a:spcAft>
          <a:spcPts val="600"/>
        </a:spcAft>
        <a:buFont typeface="Monaco" pitchFamily="2" charset="77"/>
        <a:buChar char="⎻"/>
        <a:tabLst/>
        <a:defRPr lang="en-US" sz="1200" b="0" i="0" kern="1600" spc="-50" baseline="0" dirty="0">
          <a:solidFill>
            <a:schemeClr val="tx1"/>
          </a:solidFill>
          <a:latin typeface="+mj-lt"/>
          <a:ea typeface="+mn-ea"/>
          <a:cs typeface="+mn-cs"/>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lang="en-US" sz="1050" b="0" i="1" kern="1600" spc="-50" baseline="0" dirty="0" smtClean="0">
          <a:solidFill>
            <a:schemeClr val="tx1"/>
          </a:solidFill>
          <a:latin typeface="Georgia" panose="02040502050405020303" pitchFamily="18" charset="0"/>
          <a:ea typeface="+mn-ea"/>
          <a:cs typeface="+mn-cs"/>
        </a:defRPr>
      </a:lvl3pPr>
      <a:lvl4pPr marL="1136332" indent="-171450" algn="l" defTabSz="914400" rtl="0" eaLnBrk="1" latinLnBrk="0" hangingPunct="1">
        <a:lnSpc>
          <a:spcPct val="114000"/>
        </a:lnSpc>
        <a:spcBef>
          <a:spcPts val="0"/>
        </a:spcBef>
        <a:spcAft>
          <a:spcPts val="600"/>
        </a:spcAft>
        <a:buFont typeface="Monaco" pitchFamily="2" charset="77"/>
        <a:buChar char="⎻"/>
        <a:tabLst/>
        <a:defRPr lang="en-US" sz="1050" b="0" i="1" kern="1600" spc="-50" baseline="0" dirty="0">
          <a:solidFill>
            <a:schemeClr val="tx1"/>
          </a:solidFill>
          <a:latin typeface="Georgia" panose="02040502050405020303" pitchFamily="18" charset="0"/>
          <a:ea typeface="+mn-ea"/>
          <a:cs typeface="+mn-cs"/>
        </a:defRPr>
      </a:lvl4pPr>
      <a:lvl5pPr marL="1353503" indent="-171450" algn="l" defTabSz="914400" rtl="0" eaLnBrk="1" latinLnBrk="0" hangingPunct="1">
        <a:lnSpc>
          <a:spcPct val="114000"/>
        </a:lnSpc>
        <a:spcBef>
          <a:spcPts val="0"/>
        </a:spcBef>
        <a:spcAft>
          <a:spcPts val="600"/>
        </a:spcAft>
        <a:buFont typeface="Monaco" pitchFamily="2" charset="77"/>
        <a:buChar char="⎻"/>
        <a:tabLst/>
        <a:defRPr sz="1050" b="0" i="1" kern="1600" spc="-50" baseline="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hart" Target="../charts/chart1.xml"/><Relationship Id="rId7"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11.svg"/><Relationship Id="rId5" Type="http://schemas.openxmlformats.org/officeDocument/2006/relationships/image" Target="../media/image10.png"/><Relationship Id="rId10" Type="http://schemas.openxmlformats.org/officeDocument/2006/relationships/chart" Target="../charts/chart4.xml"/><Relationship Id="rId4" Type="http://schemas.openxmlformats.org/officeDocument/2006/relationships/chart" Target="../charts/chart2.xml"/><Relationship Id="rId9" Type="http://schemas.openxmlformats.org/officeDocument/2006/relationships/image" Target="../media/image13.svg"/></Relationships>
</file>

<file path=ppt/slides/_rels/slide6.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chart" Target="../charts/chart5.xml"/><Relationship Id="rId7" Type="http://schemas.openxmlformats.org/officeDocument/2006/relationships/chart" Target="../charts/chart9.xml"/><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chart" Target="../charts/chart8.xml"/><Relationship Id="rId5" Type="http://schemas.openxmlformats.org/officeDocument/2006/relationships/chart" Target="../charts/chart7.xml"/><Relationship Id="rId10" Type="http://schemas.openxmlformats.org/officeDocument/2006/relationships/chart" Target="../charts/chart12.xml"/><Relationship Id="rId4" Type="http://schemas.openxmlformats.org/officeDocument/2006/relationships/chart" Target="../charts/chart6.xml"/><Relationship Id="rId9" Type="http://schemas.openxmlformats.org/officeDocument/2006/relationships/chart" Target="../charts/char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hyperlink" Target="http://www.fass.se/" TargetMode="Externa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A3D357E-3BBF-F065-5974-A13C9681B474}"/>
              </a:ext>
            </a:extLst>
          </p:cNvPr>
          <p:cNvSpPr txBox="1"/>
          <p:nvPr/>
        </p:nvSpPr>
        <p:spPr>
          <a:xfrm>
            <a:off x="119359" y="2068776"/>
            <a:ext cx="11953281" cy="34932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French Early Access Program with </a:t>
            </a:r>
            <a:r>
              <a:rPr lang="en-US" sz="3200" dirty="0">
                <a:solidFill>
                  <a:prstClr val="black"/>
                </a:solidFill>
                <a:latin typeface="Calibri" panose="020F0502020204030204"/>
              </a:rPr>
              <a:t>focus on Brain Metastasi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dirty="0">
              <a:solidFill>
                <a:prstClr val="black"/>
              </a:solidFill>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Disease: </a:t>
            </a:r>
            <a:r>
              <a:rPr lang="en-US" sz="2400" dirty="0" err="1">
                <a:solidFill>
                  <a:prstClr val="black"/>
                </a:solidFill>
                <a:latin typeface="Calibri" panose="020F0502020204030204"/>
              </a:rPr>
              <a:t>mTNBC</a:t>
            </a:r>
            <a:endParaRPr lang="en-US" sz="2400" dirty="0">
              <a:solidFill>
                <a:prstClr val="black"/>
              </a:solidFill>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Drug:</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Trodelvy</a:t>
            </a:r>
            <a:r>
              <a:rPr kumimoji="0" lang="sv-SE" sz="16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sacituzumab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govitecan</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lang="en-US" sz="2400" dirty="0">
              <a:solidFill>
                <a:prstClr val="black"/>
              </a:solidFill>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Category: RW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Treatment line: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2L and beyond</a:t>
            </a:r>
            <a:endParaRPr lang="en-US" sz="2400" dirty="0">
              <a:solidFill>
                <a:prstClr val="black"/>
              </a:solidFill>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Presenter: </a:t>
            </a:r>
            <a:r>
              <a:rPr lang="en-US" sz="2400" dirty="0" err="1">
                <a:solidFill>
                  <a:prstClr val="black"/>
                </a:solidFill>
                <a:latin typeface="Calibri" panose="020F0502020204030204"/>
              </a:rPr>
              <a:t>Loirat</a:t>
            </a: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Congress: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ESMO BC 20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EC3582A-602F-42B1-02A4-7B64FA253E94}"/>
              </a:ext>
            </a:extLst>
          </p:cNvPr>
          <p:cNvSpPr txBox="1"/>
          <p:nvPr/>
        </p:nvSpPr>
        <p:spPr>
          <a:xfrm>
            <a:off x="-2146" y="6385636"/>
            <a:ext cx="6098146" cy="261610"/>
          </a:xfrm>
          <a:prstGeom prst="rect">
            <a:avLst/>
          </a:prstGeom>
          <a:noFill/>
        </p:spPr>
        <p:txBody>
          <a:bodyPr wrap="square">
            <a:spAutoFit/>
          </a:bodyPr>
          <a:lstStyle/>
          <a:p>
            <a:r>
              <a:rPr lang="en-US" sz="1100" b="0" i="0" dirty="0">
                <a:solidFill>
                  <a:srgbClr val="787A7E"/>
                </a:solidFill>
                <a:effectLst/>
                <a:latin typeface="Trebuchet MS" panose="020B0603020202020204" pitchFamily="34" charset="0"/>
              </a:rPr>
              <a:t>SE-TRO-0170 Date of preparation April 2024</a:t>
            </a:r>
            <a:endParaRPr lang="en-US" sz="1100" b="0" i="0" dirty="0">
              <a:solidFill>
                <a:srgbClr val="787A7E"/>
              </a:solidFill>
              <a:latin typeface="Trebuchet MS" panose="020B0603020202020204" pitchFamily="34" charset="0"/>
            </a:endParaRPr>
          </a:p>
        </p:txBody>
      </p:sp>
      <p:sp>
        <p:nvSpPr>
          <p:cNvPr id="7" name="TextBox 6">
            <a:extLst>
              <a:ext uri="{FF2B5EF4-FFF2-40B4-BE49-F238E27FC236}">
                <a16:creationId xmlns:a16="http://schemas.microsoft.com/office/drawing/2014/main" id="{8482975A-F4DE-B8E6-E864-5674D006DC52}"/>
              </a:ext>
            </a:extLst>
          </p:cNvPr>
          <p:cNvSpPr txBox="1"/>
          <p:nvPr/>
        </p:nvSpPr>
        <p:spPr>
          <a:xfrm>
            <a:off x="2817253" y="6385636"/>
            <a:ext cx="6098146" cy="276999"/>
          </a:xfrm>
          <a:prstGeom prst="rect">
            <a:avLst/>
          </a:prstGeom>
          <a:noFill/>
        </p:spPr>
        <p:txBody>
          <a:bodyPr wrap="square">
            <a:spAutoFit/>
          </a:bodyPr>
          <a:lstStyle/>
          <a:p>
            <a:pPr algn="ctr">
              <a:defRPr/>
            </a:pP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Detta läkemedel är föremål för utökad</a:t>
            </a:r>
            <a:r>
              <a:rPr kumimoji="0" lang="sv-SE" sz="1100" b="1" i="1"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 </a:t>
            </a: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övervakning</a:t>
            </a:r>
            <a:r>
              <a:rPr kumimoji="0" lang="sv-SE" sz="12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a:t>
            </a:r>
            <a:endParaRPr kumimoji="0" lang="sv-SE" sz="1200" b="0" i="0" u="none" strike="noStrike" kern="1200" cap="none" spc="0" normalizeH="0" baseline="0" noProof="0" dirty="0">
              <a:ln>
                <a:noFill/>
              </a:ln>
              <a:solidFill>
                <a:srgbClr val="000000"/>
              </a:solidFill>
              <a:effectLst/>
              <a:uLnTx/>
              <a:uFillTx/>
              <a:latin typeface="Times New Roman" panose="02020603050405020304" pitchFamily="18" charset="0"/>
              <a:ea typeface="SimSun" panose="02010600030101010101" pitchFamily="2" charset="-122"/>
              <a:cs typeface="+mn-cs"/>
            </a:endParaRPr>
          </a:p>
        </p:txBody>
      </p:sp>
    </p:spTree>
    <p:extLst>
      <p:ext uri="{BB962C8B-B14F-4D97-AF65-F5344CB8AC3E}">
        <p14:creationId xmlns:p14="http://schemas.microsoft.com/office/powerpoint/2010/main" val="38468504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7CB0A9-3628-467A-AFB6-C5C9D1707BF5}"/>
              </a:ext>
            </a:extLst>
          </p:cNvPr>
          <p:cNvSpPr>
            <a:spLocks noGrp="1"/>
          </p:cNvSpPr>
          <p:nvPr>
            <p:ph type="body" sz="quarter" idx="10"/>
          </p:nvPr>
        </p:nvSpPr>
        <p:spPr>
          <a:xfrm>
            <a:off x="5346634" y="601662"/>
            <a:ext cx="6612003" cy="5654675"/>
          </a:xfrm>
        </p:spPr>
        <p:txBody>
          <a:bodyPr/>
          <a:lstStyle/>
          <a:p>
            <a:pPr marL="0" indent="0">
              <a:buNone/>
            </a:pPr>
            <a:r>
              <a:rPr lang="en-US" sz="2400" b="1" kern="1200" dirty="0">
                <a:effectLst/>
                <a:latin typeface="Trebuchet MS" panose="020B0603020202020204" pitchFamily="34" charset="0"/>
                <a:ea typeface="+mn-ea"/>
                <a:cs typeface="+mn-cs"/>
              </a:rPr>
              <a:t>Sacituzumab </a:t>
            </a:r>
            <a:r>
              <a:rPr lang="en-US" sz="2400" b="1" kern="1200" dirty="0" err="1">
                <a:effectLst/>
                <a:latin typeface="Trebuchet MS" panose="020B0603020202020204" pitchFamily="34" charset="0"/>
                <a:ea typeface="+mn-ea"/>
                <a:cs typeface="+mn-cs"/>
              </a:rPr>
              <a:t>govitecan</a:t>
            </a:r>
            <a:r>
              <a:rPr lang="en-US" sz="2400" b="1" kern="1200" dirty="0">
                <a:effectLst/>
                <a:latin typeface="Trebuchet MS" panose="020B0603020202020204" pitchFamily="34" charset="0"/>
                <a:ea typeface="+mn-ea"/>
                <a:cs typeface="+mn-cs"/>
              </a:rPr>
              <a:t> in metastatic triple negative breast cancer: Efficacy -with a focus on brain metastases- and Toxicity in a real-world cohort</a:t>
            </a:r>
          </a:p>
          <a:p>
            <a:pPr marL="0" indent="0">
              <a:buNone/>
            </a:pPr>
            <a:r>
              <a:rPr lang="en-US" sz="1200" kern="1200" noProof="0" dirty="0" err="1">
                <a:effectLst/>
                <a:latin typeface="Trebuchet MS" panose="020B0603020202020204" pitchFamily="34" charset="0"/>
                <a:ea typeface="Calibri" panose="020F0502020204030204" pitchFamily="34" charset="0"/>
                <a:cs typeface="+mn-cs"/>
              </a:rPr>
              <a:t>Loirat</a:t>
            </a:r>
            <a:r>
              <a:rPr lang="en-US" sz="1200" kern="1200" noProof="0" dirty="0">
                <a:effectLst/>
                <a:latin typeface="Trebuchet MS" panose="020B0603020202020204" pitchFamily="34" charset="0"/>
                <a:ea typeface="Calibri" panose="020F0502020204030204" pitchFamily="34" charset="0"/>
                <a:cs typeface="+mn-cs"/>
              </a:rPr>
              <a:t> Delphine</a:t>
            </a:r>
            <a:r>
              <a:rPr lang="en-US" sz="1200" kern="1200" baseline="30000" noProof="0" dirty="0">
                <a:effectLst/>
                <a:latin typeface="Trebuchet MS" panose="020B0603020202020204" pitchFamily="34" charset="0"/>
                <a:ea typeface="Calibri" panose="020F0502020204030204" pitchFamily="34" charset="0"/>
                <a:cs typeface="+mn-cs"/>
              </a:rPr>
              <a:t>1</a:t>
            </a:r>
            <a:r>
              <a:rPr lang="en-US" sz="1200" kern="1200" noProof="0" dirty="0">
                <a:effectLst/>
                <a:latin typeface="Trebuchet MS" panose="020B0603020202020204" pitchFamily="34" charset="0"/>
                <a:ea typeface="Calibri" panose="020F0502020204030204" pitchFamily="34" charset="0"/>
                <a:cs typeface="+mn-cs"/>
              </a:rPr>
              <a:t>, De Moura Alexandre</a:t>
            </a:r>
            <a:r>
              <a:rPr lang="en-US" sz="1200" kern="1200" baseline="30000" noProof="0" dirty="0">
                <a:effectLst/>
                <a:latin typeface="Trebuchet MS" panose="020B0603020202020204" pitchFamily="34" charset="0"/>
                <a:ea typeface="Calibri" panose="020F0502020204030204" pitchFamily="34" charset="0"/>
                <a:cs typeface="+mn-cs"/>
              </a:rPr>
              <a:t>1</a:t>
            </a:r>
            <a:r>
              <a:rPr lang="en-US" sz="1200" kern="1200" noProof="0" dirty="0">
                <a:effectLst/>
                <a:latin typeface="Trebuchet MS" panose="020B0603020202020204" pitchFamily="34" charset="0"/>
                <a:ea typeface="Calibri" panose="020F0502020204030204" pitchFamily="34" charset="0"/>
                <a:cs typeface="+mn-cs"/>
              </a:rPr>
              <a:t>, </a:t>
            </a:r>
            <a:r>
              <a:rPr lang="en-US" sz="1200" kern="1200" noProof="0" dirty="0" err="1">
                <a:effectLst/>
                <a:latin typeface="Trebuchet MS" panose="020B0603020202020204" pitchFamily="34" charset="0"/>
                <a:ea typeface="Calibri" panose="020F0502020204030204" pitchFamily="34" charset="0"/>
                <a:cs typeface="+mn-cs"/>
              </a:rPr>
              <a:t>Korbi</a:t>
            </a:r>
            <a:r>
              <a:rPr lang="en-US" sz="1200" kern="1200" noProof="0" dirty="0">
                <a:effectLst/>
                <a:latin typeface="Trebuchet MS" panose="020B0603020202020204" pitchFamily="34" charset="0"/>
                <a:ea typeface="Calibri" panose="020F0502020204030204" pitchFamily="34" charset="0"/>
                <a:cs typeface="+mn-cs"/>
              </a:rPr>
              <a:t> Sinen</a:t>
            </a:r>
            <a:r>
              <a:rPr lang="en-US" sz="1200" kern="1200" baseline="30000" noProof="0" dirty="0">
                <a:effectLst/>
                <a:latin typeface="Trebuchet MS" panose="020B0603020202020204" pitchFamily="34" charset="0"/>
                <a:ea typeface="Calibri" panose="020F0502020204030204" pitchFamily="34" charset="0"/>
                <a:cs typeface="+mn-cs"/>
              </a:rPr>
              <a:t>1</a:t>
            </a:r>
            <a:r>
              <a:rPr lang="en-US" sz="1200" kern="1200" noProof="0" dirty="0">
                <a:effectLst/>
                <a:latin typeface="Trebuchet MS" panose="020B0603020202020204" pitchFamily="34" charset="0"/>
                <a:ea typeface="Calibri" panose="020F0502020204030204" pitchFamily="34" charset="0"/>
                <a:cs typeface="+mn-cs"/>
              </a:rPr>
              <a:t>, </a:t>
            </a:r>
            <a:r>
              <a:rPr lang="en-US" sz="1200" kern="1200" noProof="0" dirty="0" err="1">
                <a:effectLst/>
                <a:latin typeface="Trebuchet MS" panose="020B0603020202020204" pitchFamily="34" charset="0"/>
                <a:ea typeface="Calibri" panose="020F0502020204030204" pitchFamily="34" charset="0"/>
                <a:cs typeface="+mn-cs"/>
              </a:rPr>
              <a:t>Kiavue</a:t>
            </a:r>
            <a:r>
              <a:rPr lang="en-US" sz="1200" kern="1200" noProof="0" dirty="0">
                <a:effectLst/>
                <a:latin typeface="Trebuchet MS" panose="020B0603020202020204" pitchFamily="34" charset="0"/>
                <a:ea typeface="Calibri" panose="020F0502020204030204" pitchFamily="34" charset="0"/>
                <a:cs typeface="+mn-cs"/>
              </a:rPr>
              <a:t> Nicolas</a:t>
            </a:r>
            <a:r>
              <a:rPr lang="en-US" sz="1200" kern="1200" baseline="30000" noProof="0" dirty="0">
                <a:effectLst/>
                <a:latin typeface="Trebuchet MS" panose="020B0603020202020204" pitchFamily="34" charset="0"/>
                <a:ea typeface="Calibri" panose="020F0502020204030204" pitchFamily="34" charset="0"/>
                <a:cs typeface="+mn-cs"/>
              </a:rPr>
              <a:t>1</a:t>
            </a:r>
            <a:r>
              <a:rPr lang="en-US" sz="1200" kern="1200" noProof="0" dirty="0">
                <a:effectLst/>
                <a:latin typeface="Trebuchet MS" panose="020B0603020202020204" pitchFamily="34" charset="0"/>
                <a:ea typeface="Calibri" panose="020F0502020204030204" pitchFamily="34" charset="0"/>
                <a:cs typeface="+mn-cs"/>
              </a:rPr>
              <a:t>, </a:t>
            </a:r>
            <a:r>
              <a:rPr lang="en-US" sz="1200" kern="1200" noProof="0" dirty="0" err="1">
                <a:effectLst/>
                <a:latin typeface="Trebuchet MS" panose="020B0603020202020204" pitchFamily="34" charset="0"/>
                <a:ea typeface="Calibri" panose="020F0502020204030204" pitchFamily="34" charset="0"/>
                <a:cs typeface="+mn-cs"/>
              </a:rPr>
              <a:t>Escalup</a:t>
            </a:r>
            <a:r>
              <a:rPr lang="en-US" sz="1200" kern="1200" noProof="0" dirty="0">
                <a:effectLst/>
                <a:latin typeface="Trebuchet MS" panose="020B0603020202020204" pitchFamily="34" charset="0"/>
                <a:ea typeface="Calibri" panose="020F0502020204030204" pitchFamily="34" charset="0"/>
                <a:cs typeface="+mn-cs"/>
              </a:rPr>
              <a:t> Laurence</a:t>
            </a:r>
            <a:r>
              <a:rPr lang="en-US" sz="1200" kern="1200" baseline="30000" noProof="0" dirty="0">
                <a:effectLst/>
                <a:latin typeface="Trebuchet MS" panose="020B0603020202020204" pitchFamily="34" charset="0"/>
                <a:ea typeface="Calibri" panose="020F0502020204030204" pitchFamily="34" charset="0"/>
                <a:cs typeface="+mn-cs"/>
              </a:rPr>
              <a:t>2</a:t>
            </a:r>
            <a:r>
              <a:rPr lang="en-US" sz="1200" kern="1200" noProof="0" dirty="0">
                <a:effectLst/>
                <a:latin typeface="Trebuchet MS" panose="020B0603020202020204" pitchFamily="34" charset="0"/>
                <a:ea typeface="Calibri" panose="020F0502020204030204" pitchFamily="34" charset="0"/>
                <a:cs typeface="+mn-cs"/>
              </a:rPr>
              <a:t>, </a:t>
            </a:r>
            <a:r>
              <a:rPr lang="en-US" sz="1200" kern="1200" noProof="0" dirty="0" err="1">
                <a:effectLst/>
                <a:latin typeface="Trebuchet MS" panose="020B0603020202020204" pitchFamily="34" charset="0"/>
                <a:ea typeface="Calibri" panose="020F0502020204030204" pitchFamily="34" charset="0"/>
                <a:cs typeface="+mn-cs"/>
              </a:rPr>
              <a:t>Desmaris</a:t>
            </a:r>
            <a:r>
              <a:rPr lang="en-US" sz="1200" kern="1200" noProof="0" dirty="0">
                <a:effectLst/>
                <a:latin typeface="Trebuchet MS" panose="020B0603020202020204" pitchFamily="34" charset="0"/>
                <a:ea typeface="Calibri" panose="020F0502020204030204" pitchFamily="34" charset="0"/>
                <a:cs typeface="+mn-cs"/>
              </a:rPr>
              <a:t> Romain P</a:t>
            </a:r>
            <a:r>
              <a:rPr lang="en-US" sz="1200" kern="1200" baseline="30000" noProof="0" dirty="0">
                <a:effectLst/>
                <a:latin typeface="Trebuchet MS" panose="020B0603020202020204" pitchFamily="34" charset="0"/>
                <a:ea typeface="Calibri" panose="020F0502020204030204" pitchFamily="34" charset="0"/>
                <a:cs typeface="+mn-cs"/>
              </a:rPr>
              <a:t>2</a:t>
            </a:r>
            <a:r>
              <a:rPr lang="en-US" sz="1200" kern="1200" noProof="0" dirty="0">
                <a:effectLst/>
                <a:latin typeface="Trebuchet MS" panose="020B0603020202020204" pitchFamily="34" charset="0"/>
                <a:ea typeface="Calibri" panose="020F0502020204030204" pitchFamily="34" charset="0"/>
                <a:cs typeface="+mn-cs"/>
              </a:rPr>
              <a:t>, </a:t>
            </a:r>
            <a:r>
              <a:rPr lang="en-US" sz="1200" kern="1200" noProof="0" dirty="0" err="1">
                <a:effectLst/>
                <a:latin typeface="Trebuchet MS" panose="020B0603020202020204" pitchFamily="34" charset="0"/>
                <a:ea typeface="Calibri" panose="020F0502020204030204" pitchFamily="34" charset="0"/>
                <a:cs typeface="+mn-cs"/>
              </a:rPr>
              <a:t>Cabel</a:t>
            </a:r>
            <a:r>
              <a:rPr lang="en-US" sz="1200" kern="1200" noProof="0" dirty="0">
                <a:effectLst/>
                <a:latin typeface="Trebuchet MS" panose="020B0603020202020204" pitchFamily="34" charset="0"/>
                <a:ea typeface="Calibri" panose="020F0502020204030204" pitchFamily="34" charset="0"/>
                <a:cs typeface="+mn-cs"/>
              </a:rPr>
              <a:t> Luc</a:t>
            </a:r>
            <a:r>
              <a:rPr lang="en-US" sz="1200" kern="1200" baseline="30000" noProof="0" dirty="0">
                <a:effectLst/>
                <a:latin typeface="Trebuchet MS" panose="020B0603020202020204" pitchFamily="34" charset="0"/>
                <a:ea typeface="Calibri" panose="020F0502020204030204" pitchFamily="34" charset="0"/>
                <a:cs typeface="+mn-cs"/>
              </a:rPr>
              <a:t>1</a:t>
            </a:r>
            <a:r>
              <a:rPr lang="en-US" sz="1200" kern="1200" noProof="0" dirty="0">
                <a:effectLst/>
                <a:latin typeface="Trebuchet MS" panose="020B0603020202020204" pitchFamily="34" charset="0"/>
                <a:ea typeface="Calibri" panose="020F0502020204030204" pitchFamily="34" charset="0"/>
                <a:cs typeface="+mn-cs"/>
              </a:rPr>
              <a:t>, </a:t>
            </a:r>
            <a:r>
              <a:rPr lang="en-US" sz="1200" kern="1200" noProof="0" dirty="0" err="1">
                <a:effectLst/>
                <a:latin typeface="Trebuchet MS" panose="020B0603020202020204" pitchFamily="34" charset="0"/>
                <a:ea typeface="Calibri" panose="020F0502020204030204" pitchFamily="34" charset="0"/>
                <a:cs typeface="+mn-cs"/>
              </a:rPr>
              <a:t>Vaflard</a:t>
            </a:r>
            <a:r>
              <a:rPr lang="en-US" sz="1200" kern="1200" noProof="0" dirty="0">
                <a:effectLst/>
                <a:latin typeface="Trebuchet MS" panose="020B0603020202020204" pitchFamily="34" charset="0"/>
                <a:ea typeface="Calibri" panose="020F0502020204030204" pitchFamily="34" charset="0"/>
                <a:cs typeface="+mn-cs"/>
              </a:rPr>
              <a:t> Pauline</a:t>
            </a:r>
            <a:r>
              <a:rPr lang="en-US" sz="1200" kern="1200" baseline="30000" noProof="0" dirty="0">
                <a:effectLst/>
                <a:latin typeface="Trebuchet MS" panose="020B0603020202020204" pitchFamily="34" charset="0"/>
                <a:ea typeface="Calibri" panose="020F0502020204030204" pitchFamily="34" charset="0"/>
                <a:cs typeface="+mn-cs"/>
              </a:rPr>
              <a:t>1</a:t>
            </a:r>
            <a:r>
              <a:rPr lang="en-US" sz="1200" kern="1200" noProof="0" dirty="0">
                <a:effectLst/>
                <a:latin typeface="Trebuchet MS" panose="020B0603020202020204" pitchFamily="34" charset="0"/>
                <a:ea typeface="Calibri" panose="020F0502020204030204" pitchFamily="34" charset="0"/>
                <a:cs typeface="+mn-cs"/>
              </a:rPr>
              <a:t>, </a:t>
            </a:r>
            <a:r>
              <a:rPr lang="en-US" sz="1200" kern="1200" noProof="0" dirty="0" err="1">
                <a:effectLst/>
                <a:latin typeface="Trebuchet MS" panose="020B0603020202020204" pitchFamily="34" charset="0"/>
                <a:ea typeface="Calibri" panose="020F0502020204030204" pitchFamily="34" charset="0"/>
                <a:cs typeface="+mn-cs"/>
              </a:rPr>
              <a:t>Cottu</a:t>
            </a:r>
            <a:r>
              <a:rPr lang="en-US" sz="1200" kern="1200" noProof="0" dirty="0">
                <a:effectLst/>
                <a:latin typeface="Trebuchet MS" panose="020B0603020202020204" pitchFamily="34" charset="0"/>
                <a:ea typeface="Calibri" panose="020F0502020204030204" pitchFamily="34" charset="0"/>
                <a:cs typeface="+mn-cs"/>
              </a:rPr>
              <a:t> Paul</a:t>
            </a:r>
            <a:r>
              <a:rPr lang="en-US" sz="1200" kern="1200" baseline="30000" noProof="0" dirty="0">
                <a:effectLst/>
                <a:latin typeface="Trebuchet MS" panose="020B0603020202020204" pitchFamily="34" charset="0"/>
                <a:ea typeface="Calibri" panose="020F0502020204030204" pitchFamily="34" charset="0"/>
                <a:cs typeface="+mn-cs"/>
              </a:rPr>
              <a:t>1</a:t>
            </a:r>
            <a:r>
              <a:rPr lang="en-US" sz="1200" kern="1200" noProof="0" dirty="0">
                <a:effectLst/>
                <a:latin typeface="Trebuchet MS" panose="020B0603020202020204" pitchFamily="34" charset="0"/>
                <a:ea typeface="Calibri" panose="020F0502020204030204" pitchFamily="34" charset="0"/>
                <a:cs typeface="+mn-cs"/>
              </a:rPr>
              <a:t>, </a:t>
            </a:r>
            <a:r>
              <a:rPr lang="en-US" sz="1200" kern="1200" noProof="0" dirty="0" err="1">
                <a:effectLst/>
                <a:latin typeface="Trebuchet MS" panose="020B0603020202020204" pitchFamily="34" charset="0"/>
                <a:ea typeface="Calibri" panose="020F0502020204030204" pitchFamily="34" charset="0"/>
                <a:cs typeface="+mn-cs"/>
              </a:rPr>
              <a:t>Pierga</a:t>
            </a:r>
            <a:r>
              <a:rPr lang="en-US" sz="1200" kern="1200" noProof="0" dirty="0">
                <a:effectLst/>
                <a:latin typeface="Trebuchet MS" panose="020B0603020202020204" pitchFamily="34" charset="0"/>
                <a:ea typeface="Calibri" panose="020F0502020204030204" pitchFamily="34" charset="0"/>
                <a:cs typeface="+mn-cs"/>
              </a:rPr>
              <a:t> Jean-Yves</a:t>
            </a:r>
            <a:r>
              <a:rPr lang="en-US" sz="1200" kern="1200" baseline="30000" noProof="0" dirty="0">
                <a:effectLst/>
                <a:latin typeface="Trebuchet MS" panose="020B0603020202020204" pitchFamily="34" charset="0"/>
                <a:ea typeface="Calibri" panose="020F0502020204030204" pitchFamily="34" charset="0"/>
                <a:cs typeface="+mn-cs"/>
              </a:rPr>
              <a:t>1,3</a:t>
            </a:r>
            <a:r>
              <a:rPr lang="en-US" sz="1200" kern="1200" noProof="0" dirty="0">
                <a:effectLst/>
                <a:latin typeface="Trebuchet MS" panose="020B0603020202020204" pitchFamily="34" charset="0"/>
                <a:ea typeface="Calibri" panose="020F0502020204030204" pitchFamily="34" charset="0"/>
                <a:cs typeface="+mn-cs"/>
              </a:rPr>
              <a:t>, </a:t>
            </a:r>
            <a:r>
              <a:rPr lang="en-US" sz="1200" kern="1200" noProof="0" dirty="0" err="1">
                <a:effectLst/>
                <a:latin typeface="Trebuchet MS" panose="020B0603020202020204" pitchFamily="34" charset="0"/>
                <a:ea typeface="Calibri" panose="020F0502020204030204" pitchFamily="34" charset="0"/>
                <a:cs typeface="+mn-cs"/>
              </a:rPr>
              <a:t>Bidard</a:t>
            </a:r>
            <a:r>
              <a:rPr lang="en-US" sz="1200" kern="1200" noProof="0" dirty="0">
                <a:effectLst/>
                <a:latin typeface="Trebuchet MS" panose="020B0603020202020204" pitchFamily="34" charset="0"/>
                <a:ea typeface="Calibri" panose="020F0502020204030204" pitchFamily="34" charset="0"/>
                <a:cs typeface="+mn-cs"/>
              </a:rPr>
              <a:t> François-Clément</a:t>
            </a:r>
            <a:r>
              <a:rPr lang="en-US" sz="1200" kern="1200" baseline="30000" noProof="0" dirty="0">
                <a:effectLst/>
                <a:latin typeface="Trebuchet MS" panose="020B0603020202020204" pitchFamily="34" charset="0"/>
                <a:ea typeface="Calibri" panose="020F0502020204030204" pitchFamily="34" charset="0"/>
                <a:cs typeface="+mn-cs"/>
              </a:rPr>
              <a:t>1,4</a:t>
            </a:r>
            <a:r>
              <a:rPr lang="en-US" sz="1200" kern="1200" noProof="0" dirty="0">
                <a:effectLst/>
                <a:latin typeface="Trebuchet MS" panose="020B0603020202020204" pitchFamily="34" charset="0"/>
                <a:ea typeface="Calibri" panose="020F0502020204030204" pitchFamily="34" charset="0"/>
                <a:cs typeface="+mn-cs"/>
              </a:rPr>
              <a:t>, Vaillant Sarah</a:t>
            </a:r>
            <a:r>
              <a:rPr lang="en-US" sz="1200" kern="1200" baseline="30000" noProof="0" dirty="0">
                <a:effectLst/>
                <a:latin typeface="Trebuchet MS" panose="020B0603020202020204" pitchFamily="34" charset="0"/>
                <a:ea typeface="Calibri" panose="020F0502020204030204" pitchFamily="34" charset="0"/>
                <a:cs typeface="+mn-cs"/>
              </a:rPr>
              <a:t>2</a:t>
            </a:r>
            <a:r>
              <a:rPr lang="en-US" sz="1200" kern="1200" noProof="0" dirty="0">
                <a:effectLst/>
                <a:latin typeface="Trebuchet MS" panose="020B0603020202020204" pitchFamily="34" charset="0"/>
                <a:ea typeface="Calibri" panose="020F0502020204030204" pitchFamily="34" charset="0"/>
                <a:cs typeface="+mn-cs"/>
              </a:rPr>
              <a:t>, </a:t>
            </a:r>
            <a:r>
              <a:rPr lang="en-US" sz="1200" kern="1200" noProof="0" dirty="0" err="1">
                <a:effectLst/>
                <a:latin typeface="Trebuchet MS" panose="020B0603020202020204" pitchFamily="34" charset="0"/>
                <a:ea typeface="Calibri" panose="020F0502020204030204" pitchFamily="34" charset="0"/>
                <a:cs typeface="+mn-cs"/>
              </a:rPr>
              <a:t>Acramel</a:t>
            </a:r>
            <a:r>
              <a:rPr lang="en-US" sz="1200" kern="1200" noProof="0" dirty="0">
                <a:effectLst/>
                <a:latin typeface="Trebuchet MS" panose="020B0603020202020204" pitchFamily="34" charset="0"/>
                <a:ea typeface="Calibri" panose="020F0502020204030204" pitchFamily="34" charset="0"/>
                <a:cs typeface="+mn-cs"/>
              </a:rPr>
              <a:t> Alexandre</a:t>
            </a:r>
            <a:r>
              <a:rPr lang="en-US" sz="1200" kern="1200" baseline="30000" noProof="0" dirty="0">
                <a:effectLst/>
                <a:latin typeface="Trebuchet MS" panose="020B0603020202020204" pitchFamily="34" charset="0"/>
                <a:ea typeface="Calibri" panose="020F0502020204030204" pitchFamily="34" charset="0"/>
                <a:cs typeface="+mn-cs"/>
              </a:rPr>
              <a:t>2</a:t>
            </a:r>
          </a:p>
          <a:p>
            <a:pPr marL="0" indent="0">
              <a:buNone/>
            </a:pPr>
            <a:r>
              <a:rPr lang="fr-FR" sz="800" baseline="30000" dirty="0"/>
              <a:t>1</a:t>
            </a:r>
            <a:r>
              <a:rPr lang="fr-FR" sz="800" dirty="0"/>
              <a:t>.Medical </a:t>
            </a:r>
            <a:r>
              <a:rPr lang="fr-FR" sz="800" dirty="0" err="1"/>
              <a:t>Oncology</a:t>
            </a:r>
            <a:r>
              <a:rPr lang="fr-FR" sz="800" dirty="0"/>
              <a:t> </a:t>
            </a:r>
            <a:r>
              <a:rPr lang="fr-FR" sz="800" dirty="0" err="1"/>
              <a:t>Department</a:t>
            </a:r>
            <a:r>
              <a:rPr lang="fr-FR" sz="800" dirty="0"/>
              <a:t>, Institut Curie, Paris &amp; Saint-Cloud, France. </a:t>
            </a:r>
            <a:r>
              <a:rPr lang="fr-FR" sz="800" baseline="30000" dirty="0"/>
              <a:t>2</a:t>
            </a:r>
            <a:r>
              <a:rPr lang="fr-FR" sz="800" dirty="0"/>
              <a:t>. </a:t>
            </a:r>
            <a:r>
              <a:rPr lang="fr-FR" sz="800" dirty="0" err="1"/>
              <a:t>Pharmacy</a:t>
            </a:r>
            <a:r>
              <a:rPr lang="fr-FR" sz="800" dirty="0"/>
              <a:t> </a:t>
            </a:r>
            <a:r>
              <a:rPr lang="fr-FR" sz="800" dirty="0" err="1"/>
              <a:t>Department</a:t>
            </a:r>
            <a:r>
              <a:rPr lang="fr-FR" sz="800" dirty="0"/>
              <a:t>, Institut Curie, Paris &amp; Saint-Cloud, France. </a:t>
            </a:r>
            <a:r>
              <a:rPr lang="fr-FR" sz="800" baseline="30000" dirty="0"/>
              <a:t>3</a:t>
            </a:r>
            <a:r>
              <a:rPr lang="fr-FR" sz="800" dirty="0"/>
              <a:t>. Université Paris Cité, France. </a:t>
            </a:r>
            <a:r>
              <a:rPr lang="fr-FR" sz="800" baseline="30000" dirty="0"/>
              <a:t>4</a:t>
            </a:r>
            <a:r>
              <a:rPr lang="fr-FR" sz="800" dirty="0"/>
              <a:t>. UVSQ, France</a:t>
            </a:r>
            <a:endParaRPr lang="en-US" sz="800" dirty="0"/>
          </a:p>
        </p:txBody>
      </p:sp>
    </p:spTree>
    <p:extLst>
      <p:ext uri="{BB962C8B-B14F-4D97-AF65-F5344CB8AC3E}">
        <p14:creationId xmlns:p14="http://schemas.microsoft.com/office/powerpoint/2010/main" val="22284530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CC565F1-6ECA-4A54-89D2-F4F21842C4A0}"/>
              </a:ext>
            </a:extLst>
          </p:cNvPr>
          <p:cNvSpPr>
            <a:spLocks noGrp="1"/>
          </p:cNvSpPr>
          <p:nvPr>
            <p:ph type="title"/>
          </p:nvPr>
        </p:nvSpPr>
        <p:spPr/>
        <p:txBody>
          <a:bodyPr/>
          <a:lstStyle/>
          <a:p>
            <a:r>
              <a:rPr lang="en-US">
                <a:solidFill>
                  <a:srgbClr val="203661"/>
                </a:solidFill>
                <a:latin typeface="Trebuchet MS" panose="020B0603020202020204" pitchFamily="34" charset="0"/>
                <a:ea typeface="+mj-ea"/>
              </a:rPr>
              <a:t>Methods</a:t>
            </a:r>
            <a:r>
              <a:rPr lang="en-US" baseline="30000">
                <a:solidFill>
                  <a:srgbClr val="203661"/>
                </a:solidFill>
                <a:latin typeface="Trebuchet MS" panose="020B0603020202020204" pitchFamily="34" charset="0"/>
                <a:ea typeface="+mj-ea"/>
              </a:rPr>
              <a:t>1</a:t>
            </a:r>
            <a:br>
              <a:rPr lang="en-US" sz="2400"/>
            </a:br>
            <a:br>
              <a:rPr lang="en-US" sz="2400"/>
            </a:br>
            <a:br>
              <a:rPr lang="en-CH"/>
            </a:br>
            <a:endParaRPr lang="en-IN" baseline="30000"/>
          </a:p>
        </p:txBody>
      </p:sp>
      <p:sp>
        <p:nvSpPr>
          <p:cNvPr id="12" name="Text Placeholder 11">
            <a:extLst>
              <a:ext uri="{FF2B5EF4-FFF2-40B4-BE49-F238E27FC236}">
                <a16:creationId xmlns:a16="http://schemas.microsoft.com/office/drawing/2014/main" id="{DE2F887C-C2AE-4BCB-9230-50E7EAC81F38}"/>
              </a:ext>
            </a:extLst>
          </p:cNvPr>
          <p:cNvSpPr>
            <a:spLocks noGrp="1"/>
          </p:cNvSpPr>
          <p:nvPr>
            <p:ph type="body" sz="quarter" idx="13"/>
          </p:nvPr>
        </p:nvSpPr>
        <p:spPr>
          <a:xfrm>
            <a:off x="568793" y="5964198"/>
            <a:ext cx="9478456" cy="704449"/>
          </a:xfrm>
        </p:spPr>
        <p:txBody>
          <a:bodyPr/>
          <a:lstStyle/>
          <a:p>
            <a:pPr>
              <a:spcAft>
                <a:spcPts val="0"/>
              </a:spcAft>
            </a:pPr>
            <a:r>
              <a:rPr lang="en-US" sz="700" kern="1200">
                <a:latin typeface="Trebuchet MS" panose="020B0603020202020204" pitchFamily="34" charset="0"/>
                <a:ea typeface="Helvetica" charset="0"/>
                <a:cs typeface="Helvetica"/>
              </a:rPr>
              <a:t>CI, confidence interval; EAP, Early Access Program; OS, overall survival; PFS, progression free survival; SG, </a:t>
            </a:r>
            <a:r>
              <a:rPr lang="en-US" sz="700" kern="1200" err="1">
                <a:latin typeface="Trebuchet MS" panose="020B0603020202020204" pitchFamily="34" charset="0"/>
                <a:ea typeface="Helvetica" charset="0"/>
                <a:cs typeface="Helvetica"/>
              </a:rPr>
              <a:t>sacituzumab</a:t>
            </a:r>
            <a:r>
              <a:rPr lang="en-US" sz="700" kern="1200">
                <a:latin typeface="Trebuchet MS" panose="020B0603020202020204" pitchFamily="34" charset="0"/>
                <a:ea typeface="Helvetica" charset="0"/>
                <a:cs typeface="Helvetica"/>
              </a:rPr>
              <a:t> </a:t>
            </a:r>
            <a:r>
              <a:rPr lang="en-US" sz="700" kern="1200" err="1">
                <a:latin typeface="Trebuchet MS" panose="020B0603020202020204" pitchFamily="34" charset="0"/>
                <a:ea typeface="Helvetica" charset="0"/>
                <a:cs typeface="Helvetica"/>
              </a:rPr>
              <a:t>govitecan</a:t>
            </a:r>
            <a:r>
              <a:rPr lang="en-US" sz="700" kern="1200">
                <a:latin typeface="Trebuchet MS" panose="020B0603020202020204" pitchFamily="34" charset="0"/>
                <a:ea typeface="Helvetica" charset="0"/>
                <a:cs typeface="Helvetica"/>
              </a:rPr>
              <a:t>; </a:t>
            </a:r>
            <a:r>
              <a:rPr lang="en-US" sz="700" kern="1200" err="1">
                <a:latin typeface="Trebuchet MS" panose="020B0603020202020204" pitchFamily="34" charset="0"/>
                <a:ea typeface="Helvetica" charset="0"/>
                <a:cs typeface="Helvetica"/>
              </a:rPr>
              <a:t>mTNBC</a:t>
            </a:r>
            <a:r>
              <a:rPr lang="en-US" sz="700" kern="1200">
                <a:latin typeface="Trebuchet MS" panose="020B0603020202020204" pitchFamily="34" charset="0"/>
                <a:ea typeface="Helvetica" charset="0"/>
                <a:cs typeface="Helvetica"/>
              </a:rPr>
              <a:t>, metastatic triple-negative breast cancer.</a:t>
            </a:r>
            <a:br>
              <a:rPr lang="en-US" sz="700" kern="1200">
                <a:latin typeface="Trebuchet MS" panose="020B0603020202020204" pitchFamily="34" charset="0"/>
                <a:ea typeface="Helvetica" charset="0"/>
                <a:cs typeface="Helvetica"/>
              </a:rPr>
            </a:br>
            <a:r>
              <a:rPr lang="en-US" sz="700" kern="1200">
                <a:latin typeface="Trebuchet MS" panose="020B0603020202020204" pitchFamily="34" charset="0"/>
                <a:ea typeface="Helvetica" charset="0"/>
                <a:cs typeface="Helvetica"/>
              </a:rPr>
              <a:t>1. </a:t>
            </a:r>
            <a:r>
              <a:rPr lang="en-US" sz="700" kern="1200" err="1">
                <a:latin typeface="Trebuchet MS" panose="020B0603020202020204" pitchFamily="34" charset="0"/>
                <a:ea typeface="Helvetica" charset="0"/>
                <a:cs typeface="Helvetica"/>
              </a:rPr>
              <a:t>Loirat</a:t>
            </a:r>
            <a:r>
              <a:rPr lang="en-US" sz="700" kern="1200">
                <a:latin typeface="Trebuchet MS" panose="020B0603020202020204" pitchFamily="34" charset="0"/>
                <a:ea typeface="Helvetica" charset="0"/>
                <a:cs typeface="Helvetica"/>
              </a:rPr>
              <a:t> D, et al. Poster presented at: ESMO Breast Cancer 2023; May 11-13, 2023; Berlin, Germany. Abstract #216P</a:t>
            </a:r>
          </a:p>
        </p:txBody>
      </p:sp>
      <p:sp>
        <p:nvSpPr>
          <p:cNvPr id="15" name="Content Placeholder 5">
            <a:extLst>
              <a:ext uri="{FF2B5EF4-FFF2-40B4-BE49-F238E27FC236}">
                <a16:creationId xmlns:a16="http://schemas.microsoft.com/office/drawing/2014/main" id="{D4C4EF81-734D-4391-A977-98EAAB51295E}"/>
              </a:ext>
            </a:extLst>
          </p:cNvPr>
          <p:cNvSpPr>
            <a:spLocks noGrp="1"/>
          </p:cNvSpPr>
          <p:nvPr>
            <p:ph idx="1"/>
          </p:nvPr>
        </p:nvSpPr>
        <p:spPr>
          <a:xfrm>
            <a:off x="568793" y="837596"/>
            <a:ext cx="5446996" cy="5303520"/>
          </a:xfrm>
        </p:spPr>
        <p:txBody>
          <a:bodyPr vert="horz" wrap="square" lIns="91440" tIns="45720" rIns="91440" bIns="45720" rtlCol="0" anchor="t">
            <a:spAutoFit/>
          </a:bodyPr>
          <a:lstStyle/>
          <a:p>
            <a:pPr marL="172720" indent="-172720"/>
            <a:r>
              <a:rPr lang="en-US" sz="1800" dirty="0">
                <a:latin typeface="Trebuchet MS"/>
                <a:cs typeface="Arial"/>
              </a:rPr>
              <a:t>An </a:t>
            </a:r>
            <a:r>
              <a:rPr lang="en-US" sz="1800" dirty="0" err="1">
                <a:latin typeface="Trebuchet MS"/>
                <a:cs typeface="Arial"/>
              </a:rPr>
              <a:t>ambispective</a:t>
            </a:r>
            <a:r>
              <a:rPr lang="en-US" sz="1800" dirty="0">
                <a:latin typeface="Trebuchet MS"/>
                <a:cs typeface="Arial"/>
              </a:rPr>
              <a:t> bicentric cohort study was conducted to assess the real-world effectiveness and safety of SG in patients with </a:t>
            </a:r>
            <a:r>
              <a:rPr lang="en-US" sz="1800" dirty="0" err="1">
                <a:latin typeface="Trebuchet MS"/>
                <a:cs typeface="Arial"/>
              </a:rPr>
              <a:t>mTNBC</a:t>
            </a:r>
            <a:r>
              <a:rPr lang="en-US" sz="1800" dirty="0">
                <a:latin typeface="Trebuchet MS"/>
                <a:cs typeface="Arial"/>
              </a:rPr>
              <a:t>.</a:t>
            </a:r>
          </a:p>
          <a:p>
            <a:pPr marL="172720" indent="-172720"/>
            <a:r>
              <a:rPr lang="en-US" sz="1800" dirty="0">
                <a:latin typeface="Trebuchet MS"/>
                <a:cs typeface="Arial"/>
              </a:rPr>
              <a:t>This study included patients treated through the French Early Access Program (EAP) from May 2021 to January 2023.</a:t>
            </a:r>
          </a:p>
          <a:p>
            <a:pPr marL="172720" indent="-172720"/>
            <a:r>
              <a:rPr lang="en-US" sz="1800" dirty="0">
                <a:latin typeface="Trebuchet MS"/>
                <a:cs typeface="Arial"/>
              </a:rPr>
              <a:t>The Kaplan-Meier method was utilized to assess OS and PFS estimations and compared using log-rank test.</a:t>
            </a:r>
          </a:p>
          <a:p>
            <a:pPr marL="172720" indent="-172720"/>
            <a:r>
              <a:rPr lang="en-US" sz="1800" dirty="0">
                <a:latin typeface="Trebuchet MS"/>
                <a:cs typeface="Arial"/>
              </a:rPr>
              <a:t>Prognosis factors were investigated using Cox proportional hazards regression analyses and expressed as hazards ratios with 95% CIs. </a:t>
            </a:r>
          </a:p>
          <a:p>
            <a:pPr marL="172720" indent="-172720"/>
            <a:r>
              <a:rPr lang="en-US" sz="1800" dirty="0">
                <a:latin typeface="Trebuchet MS"/>
                <a:cs typeface="Arial"/>
              </a:rPr>
              <a:t>All analyses were performed using R version 3.3.2.</a:t>
            </a:r>
          </a:p>
          <a:p>
            <a:pPr marL="172720" indent="-172720"/>
            <a:r>
              <a:rPr lang="en-US" sz="1800" dirty="0">
                <a:latin typeface="Trebuchet MS"/>
                <a:cs typeface="Arial"/>
              </a:rPr>
              <a:t>The objective of the study is to determine efficacy and safety of SG in a real-world cohort.</a:t>
            </a:r>
          </a:p>
          <a:p>
            <a:pPr marL="172720" indent="-172720">
              <a:buFont typeface="Arial" panose="020B0604020202020204" pitchFamily="34" charset="0"/>
              <a:buChar char="•"/>
            </a:pPr>
            <a:endParaRPr lang="en-US" sz="1800" dirty="0"/>
          </a:p>
          <a:p>
            <a:pPr marL="318770" lvl="0" indent="-318770"/>
            <a:endParaRPr lang="en-CA" sz="1800" baseline="30000" dirty="0"/>
          </a:p>
        </p:txBody>
      </p:sp>
      <p:sp>
        <p:nvSpPr>
          <p:cNvPr id="9" name="Rectangle: Rounded Corners 8">
            <a:extLst>
              <a:ext uri="{FF2B5EF4-FFF2-40B4-BE49-F238E27FC236}">
                <a16:creationId xmlns:a16="http://schemas.microsoft.com/office/drawing/2014/main" id="{E8621DD0-88DF-5EAE-57AF-50C739133016}"/>
              </a:ext>
            </a:extLst>
          </p:cNvPr>
          <p:cNvSpPr/>
          <p:nvPr/>
        </p:nvSpPr>
        <p:spPr>
          <a:xfrm>
            <a:off x="7406053" y="2108652"/>
            <a:ext cx="1682796" cy="690296"/>
          </a:xfrm>
          <a:prstGeom prst="roundRect">
            <a:avLst>
              <a:gd name="adj"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tx1"/>
                </a:solidFill>
                <a:latin typeface="Trebuchet MS" panose="020B0603020202020204" pitchFamily="34" charset="0"/>
              </a:rPr>
              <a:t>103</a:t>
            </a:r>
            <a:br>
              <a:rPr lang="en-US" sz="1050">
                <a:solidFill>
                  <a:schemeClr val="tx1"/>
                </a:solidFill>
                <a:latin typeface="Trebuchet MS" panose="020B0603020202020204" pitchFamily="34" charset="0"/>
              </a:rPr>
            </a:br>
            <a:r>
              <a:rPr lang="en-US" sz="1050">
                <a:solidFill>
                  <a:schemeClr val="tx1"/>
                </a:solidFill>
                <a:latin typeface="Trebuchet MS" panose="020B0603020202020204" pitchFamily="34" charset="0"/>
              </a:rPr>
              <a:t>Patients with TNBC treated with SG (EAP)  </a:t>
            </a:r>
          </a:p>
        </p:txBody>
      </p:sp>
      <p:sp>
        <p:nvSpPr>
          <p:cNvPr id="13" name="Rectangle: Rounded Corners 12">
            <a:extLst>
              <a:ext uri="{FF2B5EF4-FFF2-40B4-BE49-F238E27FC236}">
                <a16:creationId xmlns:a16="http://schemas.microsoft.com/office/drawing/2014/main" id="{C413F00C-CD18-0346-C6C6-120E08A37E0D}"/>
              </a:ext>
            </a:extLst>
          </p:cNvPr>
          <p:cNvSpPr/>
          <p:nvPr/>
        </p:nvSpPr>
        <p:spPr>
          <a:xfrm>
            <a:off x="6567467" y="2959756"/>
            <a:ext cx="1682796" cy="690296"/>
          </a:xfrm>
          <a:prstGeom prst="roundRect">
            <a:avLst>
              <a:gd name="adj" fmla="val 763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tx1"/>
                </a:solidFill>
                <a:latin typeface="Trebuchet MS" panose="020B0603020202020204" pitchFamily="34" charset="0"/>
              </a:rPr>
              <a:t>71</a:t>
            </a:r>
            <a:br>
              <a:rPr lang="en-US" sz="1050">
                <a:solidFill>
                  <a:schemeClr val="tx1"/>
                </a:solidFill>
                <a:latin typeface="Trebuchet MS" panose="020B0603020202020204" pitchFamily="34" charset="0"/>
              </a:rPr>
            </a:br>
            <a:r>
              <a:rPr lang="en-US" sz="1050">
                <a:solidFill>
                  <a:schemeClr val="tx1"/>
                </a:solidFill>
                <a:latin typeface="Trebuchet MS" panose="020B0603020202020204" pitchFamily="34" charset="0"/>
              </a:rPr>
              <a:t>Patients without brain </a:t>
            </a:r>
            <a:r>
              <a:rPr lang="en-US" sz="1050" err="1">
                <a:solidFill>
                  <a:schemeClr val="tx1"/>
                </a:solidFill>
                <a:latin typeface="Trebuchet MS" panose="020B0603020202020204" pitchFamily="34" charset="0"/>
              </a:rPr>
              <a:t>mets</a:t>
            </a:r>
            <a:r>
              <a:rPr lang="en-US" sz="1050">
                <a:solidFill>
                  <a:schemeClr val="tx1"/>
                </a:solidFill>
                <a:latin typeface="Trebuchet MS" panose="020B0603020202020204" pitchFamily="34" charset="0"/>
              </a:rPr>
              <a:t>/or unknown for brain metastases status</a:t>
            </a:r>
          </a:p>
        </p:txBody>
      </p:sp>
      <p:sp>
        <p:nvSpPr>
          <p:cNvPr id="16" name="Rectangle: Rounded Corners 15">
            <a:extLst>
              <a:ext uri="{FF2B5EF4-FFF2-40B4-BE49-F238E27FC236}">
                <a16:creationId xmlns:a16="http://schemas.microsoft.com/office/drawing/2014/main" id="{56B1F773-4C76-702E-9E8F-52C5D0E91C0A}"/>
              </a:ext>
            </a:extLst>
          </p:cNvPr>
          <p:cNvSpPr/>
          <p:nvPr/>
        </p:nvSpPr>
        <p:spPr>
          <a:xfrm>
            <a:off x="8362867" y="2966517"/>
            <a:ext cx="1682796" cy="690296"/>
          </a:xfrm>
          <a:prstGeom prst="roundRect">
            <a:avLst>
              <a:gd name="adj" fmla="val 6632"/>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tx1"/>
                </a:solidFill>
                <a:latin typeface="Trebuchet MS" panose="020B0603020202020204" pitchFamily="34" charset="0"/>
              </a:rPr>
              <a:t>32</a:t>
            </a:r>
            <a:br>
              <a:rPr lang="en-US" sz="1050">
                <a:solidFill>
                  <a:schemeClr val="tx1"/>
                </a:solidFill>
                <a:latin typeface="Trebuchet MS" panose="020B0603020202020204" pitchFamily="34" charset="0"/>
              </a:rPr>
            </a:br>
            <a:r>
              <a:rPr lang="en-US" sz="1050">
                <a:solidFill>
                  <a:schemeClr val="tx1"/>
                </a:solidFill>
                <a:latin typeface="Trebuchet MS" panose="020B0603020202020204" pitchFamily="34" charset="0"/>
              </a:rPr>
              <a:t>Patients with brain </a:t>
            </a:r>
            <a:r>
              <a:rPr lang="en-US" sz="1050" err="1">
                <a:solidFill>
                  <a:schemeClr val="tx1"/>
                </a:solidFill>
                <a:latin typeface="Trebuchet MS" panose="020B0603020202020204" pitchFamily="34" charset="0"/>
              </a:rPr>
              <a:t>mets</a:t>
            </a:r>
            <a:endParaRPr lang="en-US" sz="1050">
              <a:solidFill>
                <a:schemeClr val="tx1"/>
              </a:solidFill>
              <a:latin typeface="Trebuchet MS" panose="020B0603020202020204" pitchFamily="34" charset="0"/>
            </a:endParaRPr>
          </a:p>
        </p:txBody>
      </p:sp>
      <p:cxnSp>
        <p:nvCxnSpPr>
          <p:cNvPr id="18" name="Connector: Elbow 17">
            <a:extLst>
              <a:ext uri="{FF2B5EF4-FFF2-40B4-BE49-F238E27FC236}">
                <a16:creationId xmlns:a16="http://schemas.microsoft.com/office/drawing/2014/main" id="{1BB4E42F-705B-19C2-1B7B-611EC88E9EAC}"/>
              </a:ext>
            </a:extLst>
          </p:cNvPr>
          <p:cNvCxnSpPr>
            <a:cxnSpLocks/>
          </p:cNvCxnSpPr>
          <p:nvPr/>
        </p:nvCxnSpPr>
        <p:spPr>
          <a:xfrm rot="5400000">
            <a:off x="7747753" y="2460059"/>
            <a:ext cx="160808" cy="838586"/>
          </a:xfrm>
          <a:prstGeom prst="bentConnector3">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0" name="Connector: Elbow 19">
            <a:extLst>
              <a:ext uri="{FF2B5EF4-FFF2-40B4-BE49-F238E27FC236}">
                <a16:creationId xmlns:a16="http://schemas.microsoft.com/office/drawing/2014/main" id="{B1350189-CBF6-0929-D306-7E8F0B342CDE}"/>
              </a:ext>
            </a:extLst>
          </p:cNvPr>
          <p:cNvCxnSpPr/>
          <p:nvPr/>
        </p:nvCxnSpPr>
        <p:spPr>
          <a:xfrm rot="16200000" flipH="1">
            <a:off x="8642073" y="2404325"/>
            <a:ext cx="167569" cy="956814"/>
          </a:xfrm>
          <a:prstGeom prst="bentConnector3">
            <a:avLst/>
          </a:prstGeom>
          <a:ln>
            <a:tailEnd type="triangle"/>
          </a:ln>
        </p:spPr>
        <p:style>
          <a:lnRef idx="1">
            <a:schemeClr val="accent2"/>
          </a:lnRef>
          <a:fillRef idx="0">
            <a:schemeClr val="accent2"/>
          </a:fillRef>
          <a:effectRef idx="0">
            <a:schemeClr val="accent2"/>
          </a:effectRef>
          <a:fontRef idx="minor">
            <a:schemeClr val="tx1"/>
          </a:fontRef>
        </p:style>
      </p:cxnSp>
      <p:sp>
        <p:nvSpPr>
          <p:cNvPr id="22" name="Rectangle: Rounded Corners 21">
            <a:extLst>
              <a:ext uri="{FF2B5EF4-FFF2-40B4-BE49-F238E27FC236}">
                <a16:creationId xmlns:a16="http://schemas.microsoft.com/office/drawing/2014/main" id="{4AE2B614-2EDF-A115-2C06-1ACD491CFE49}"/>
              </a:ext>
            </a:extLst>
          </p:cNvPr>
          <p:cNvSpPr/>
          <p:nvPr/>
        </p:nvSpPr>
        <p:spPr>
          <a:xfrm>
            <a:off x="10217898" y="3466356"/>
            <a:ext cx="1682796" cy="690296"/>
          </a:xfrm>
          <a:prstGeom prst="roundRect">
            <a:avLst>
              <a:gd name="adj" fmla="val 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800" b="1">
              <a:solidFill>
                <a:schemeClr val="tx1"/>
              </a:solidFill>
              <a:latin typeface="Trebuchet MS" panose="020B0603020202020204" pitchFamily="34" charset="0"/>
            </a:endParaRPr>
          </a:p>
          <a:p>
            <a:pPr marL="171450" indent="-171450">
              <a:buFont typeface="Arial" panose="020B0604020202020204" pitchFamily="34" charset="0"/>
              <a:buChar char="•"/>
            </a:pPr>
            <a:endParaRPr lang="en-US" sz="800">
              <a:solidFill>
                <a:schemeClr val="tx1"/>
              </a:solidFill>
              <a:latin typeface="Trebuchet MS" panose="020B0603020202020204" pitchFamily="34" charset="0"/>
            </a:endParaRPr>
          </a:p>
          <a:p>
            <a:pPr marL="171450" indent="-171450">
              <a:buFont typeface="Arial" panose="020B0604020202020204" pitchFamily="34" charset="0"/>
              <a:buChar char="•"/>
            </a:pPr>
            <a:r>
              <a:rPr lang="en-US" sz="800">
                <a:solidFill>
                  <a:schemeClr val="tx1"/>
                </a:solidFill>
                <a:latin typeface="Trebuchet MS" panose="020B0603020202020204" pitchFamily="34" charset="0"/>
              </a:rPr>
              <a:t>18 previously treated/stable brain </a:t>
            </a:r>
            <a:r>
              <a:rPr lang="en-US" sz="800" err="1">
                <a:solidFill>
                  <a:schemeClr val="tx1"/>
                </a:solidFill>
                <a:latin typeface="Trebuchet MS" panose="020B0603020202020204" pitchFamily="34" charset="0"/>
              </a:rPr>
              <a:t>mets</a:t>
            </a:r>
            <a:endParaRPr lang="en-US" sz="800">
              <a:solidFill>
                <a:schemeClr val="tx1"/>
              </a:solidFill>
              <a:latin typeface="Trebuchet MS" panose="020B0603020202020204" pitchFamily="34" charset="0"/>
            </a:endParaRPr>
          </a:p>
          <a:p>
            <a:pPr marL="171450" indent="-171450">
              <a:buFont typeface="Arial" panose="020B0604020202020204" pitchFamily="34" charset="0"/>
              <a:buChar char="•"/>
            </a:pPr>
            <a:r>
              <a:rPr lang="en-US" sz="800">
                <a:solidFill>
                  <a:schemeClr val="tx1"/>
                </a:solidFill>
                <a:latin typeface="Trebuchet MS" panose="020B0603020202020204" pitchFamily="34" charset="0"/>
              </a:rPr>
              <a:t>11 progressive brain </a:t>
            </a:r>
            <a:r>
              <a:rPr lang="en-US" sz="800" err="1">
                <a:solidFill>
                  <a:schemeClr val="tx1"/>
                </a:solidFill>
                <a:latin typeface="Trebuchet MS" panose="020B0603020202020204" pitchFamily="34" charset="0"/>
              </a:rPr>
              <a:t>mets</a:t>
            </a:r>
            <a:endParaRPr lang="en-US" sz="800">
              <a:solidFill>
                <a:schemeClr val="tx1"/>
              </a:solidFill>
              <a:latin typeface="Trebuchet MS" panose="020B0603020202020204" pitchFamily="34" charset="0"/>
            </a:endParaRPr>
          </a:p>
          <a:p>
            <a:pPr marL="171450" indent="-171450">
              <a:buFont typeface="Arial" panose="020B0604020202020204" pitchFamily="34" charset="0"/>
              <a:buChar char="•"/>
            </a:pPr>
            <a:r>
              <a:rPr lang="en-US" sz="800">
                <a:solidFill>
                  <a:schemeClr val="tx1"/>
                </a:solidFill>
                <a:latin typeface="Trebuchet MS" panose="020B0603020202020204" pitchFamily="34" charset="0"/>
              </a:rPr>
              <a:t>2 Leptomeningeal </a:t>
            </a:r>
            <a:r>
              <a:rPr lang="en-US" sz="800" err="1">
                <a:solidFill>
                  <a:schemeClr val="tx1"/>
                </a:solidFill>
                <a:latin typeface="Trebuchet MS" panose="020B0603020202020204" pitchFamily="34" charset="0"/>
              </a:rPr>
              <a:t>mets</a:t>
            </a:r>
            <a:endParaRPr lang="en-US" sz="800">
              <a:solidFill>
                <a:schemeClr val="tx1"/>
              </a:solidFill>
              <a:latin typeface="Trebuchet MS" panose="020B0603020202020204" pitchFamily="34" charset="0"/>
            </a:endParaRPr>
          </a:p>
          <a:p>
            <a:pPr marL="171450" indent="-171450">
              <a:buFont typeface="Arial" panose="020B0604020202020204" pitchFamily="34" charset="0"/>
              <a:buChar char="•"/>
            </a:pPr>
            <a:r>
              <a:rPr lang="en-US" sz="800">
                <a:solidFill>
                  <a:schemeClr val="tx1"/>
                </a:solidFill>
                <a:latin typeface="Trebuchet MS" panose="020B0603020202020204" pitchFamily="34" charset="0"/>
              </a:rPr>
              <a:t>1 NA</a:t>
            </a:r>
          </a:p>
          <a:p>
            <a:pPr marL="171450" indent="-171450" algn="ctr">
              <a:buFont typeface="Arial" panose="020B0604020202020204" pitchFamily="34" charset="0"/>
              <a:buChar char="•"/>
            </a:pPr>
            <a:endParaRPr lang="en-US" sz="1050">
              <a:solidFill>
                <a:schemeClr val="tx1"/>
              </a:solidFill>
              <a:latin typeface="Trebuchet MS" panose="020B0603020202020204" pitchFamily="34" charset="0"/>
            </a:endParaRPr>
          </a:p>
        </p:txBody>
      </p:sp>
      <p:cxnSp>
        <p:nvCxnSpPr>
          <p:cNvPr id="24" name="Connector: Elbow 23">
            <a:extLst>
              <a:ext uri="{FF2B5EF4-FFF2-40B4-BE49-F238E27FC236}">
                <a16:creationId xmlns:a16="http://schemas.microsoft.com/office/drawing/2014/main" id="{18C3F81D-AED8-169E-C801-54E928CA7A60}"/>
              </a:ext>
            </a:extLst>
          </p:cNvPr>
          <p:cNvCxnSpPr/>
          <p:nvPr/>
        </p:nvCxnSpPr>
        <p:spPr>
          <a:xfrm>
            <a:off x="10045662" y="3311665"/>
            <a:ext cx="1013633" cy="15469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39814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CC565F1-6ECA-4A54-89D2-F4F21842C4A0}"/>
              </a:ext>
            </a:extLst>
          </p:cNvPr>
          <p:cNvSpPr>
            <a:spLocks noGrp="1"/>
          </p:cNvSpPr>
          <p:nvPr>
            <p:ph type="title"/>
          </p:nvPr>
        </p:nvSpPr>
        <p:spPr/>
        <p:txBody>
          <a:bodyPr/>
          <a:lstStyle/>
          <a:p>
            <a:r>
              <a:rPr lang="en-US">
                <a:solidFill>
                  <a:srgbClr val="203661"/>
                </a:solidFill>
                <a:latin typeface="Trebuchet MS" panose="020B0603020202020204" pitchFamily="34" charset="0"/>
                <a:ea typeface="+mj-ea"/>
              </a:rPr>
              <a:t>Patient Characteristics</a:t>
            </a:r>
            <a:r>
              <a:rPr lang="en-US" baseline="30000">
                <a:solidFill>
                  <a:srgbClr val="203661"/>
                </a:solidFill>
                <a:latin typeface="Trebuchet MS" panose="020B0603020202020204" pitchFamily="34" charset="0"/>
                <a:ea typeface="+mj-ea"/>
              </a:rPr>
              <a:t>1</a:t>
            </a:r>
            <a:br>
              <a:rPr lang="en-US" sz="2400"/>
            </a:br>
            <a:br>
              <a:rPr lang="en-US" sz="2400"/>
            </a:br>
            <a:br>
              <a:rPr lang="en-CH"/>
            </a:br>
            <a:endParaRPr lang="en-IN" baseline="30000"/>
          </a:p>
        </p:txBody>
      </p:sp>
      <p:sp>
        <p:nvSpPr>
          <p:cNvPr id="12" name="Text Placeholder 11">
            <a:extLst>
              <a:ext uri="{FF2B5EF4-FFF2-40B4-BE49-F238E27FC236}">
                <a16:creationId xmlns:a16="http://schemas.microsoft.com/office/drawing/2014/main" id="{DE2F887C-C2AE-4BCB-9230-50E7EAC81F38}"/>
              </a:ext>
            </a:extLst>
          </p:cNvPr>
          <p:cNvSpPr>
            <a:spLocks noGrp="1"/>
          </p:cNvSpPr>
          <p:nvPr>
            <p:ph type="body" sz="quarter" idx="13"/>
          </p:nvPr>
        </p:nvSpPr>
        <p:spPr>
          <a:xfrm>
            <a:off x="568793" y="5964198"/>
            <a:ext cx="9478456" cy="704449"/>
          </a:xfrm>
        </p:spPr>
        <p:txBody>
          <a:bodyPr/>
          <a:lstStyle/>
          <a:p>
            <a:pPr>
              <a:spcAft>
                <a:spcPts val="0"/>
              </a:spcAft>
            </a:pPr>
            <a:r>
              <a:rPr lang="en-US" sz="700" kern="1200" dirty="0">
                <a:latin typeface="Trebuchet MS" panose="020B0603020202020204" pitchFamily="34" charset="0"/>
                <a:ea typeface="Helvetica" charset="0"/>
                <a:cs typeface="Helvetica"/>
              </a:rPr>
              <a:t>*Of the 32 patients with brain metastases, 18 patients had previously treated/stable brain metastases, 11 had progressive brain metastases, 2 had leptomeningeal metastases, and 1 was not applicable </a:t>
            </a:r>
          </a:p>
          <a:p>
            <a:pPr>
              <a:spcAft>
                <a:spcPts val="0"/>
              </a:spcAft>
            </a:pPr>
            <a:r>
              <a:rPr lang="en-US" sz="700" kern="1200" dirty="0">
                <a:latin typeface="Trebuchet MS" panose="020B0603020202020204" pitchFamily="34" charset="0"/>
                <a:ea typeface="Helvetica" charset="0"/>
                <a:cs typeface="Helvetica"/>
              </a:rPr>
              <a:t>ECOG PS, Eastern Cooperative Oncology Group Performance Status; NA, applicable; PARP, poly ADP ribose polymerase. </a:t>
            </a:r>
          </a:p>
          <a:p>
            <a:pPr>
              <a:spcAft>
                <a:spcPts val="0"/>
              </a:spcAft>
            </a:pPr>
            <a:r>
              <a:rPr lang="en-US" sz="700" kern="1200" dirty="0">
                <a:latin typeface="Trebuchet MS" panose="020B0603020202020204" pitchFamily="34" charset="0"/>
                <a:ea typeface="Helvetica" charset="0"/>
                <a:cs typeface="Helvetica"/>
              </a:rPr>
              <a:t>1. </a:t>
            </a:r>
            <a:r>
              <a:rPr lang="en-US" sz="700" kern="1200" dirty="0" err="1">
                <a:latin typeface="Trebuchet MS" panose="020B0603020202020204" pitchFamily="34" charset="0"/>
                <a:ea typeface="Helvetica" charset="0"/>
                <a:cs typeface="Helvetica"/>
              </a:rPr>
              <a:t>Loirat</a:t>
            </a:r>
            <a:r>
              <a:rPr lang="en-US" sz="700" kern="1200" dirty="0">
                <a:latin typeface="Trebuchet MS" panose="020B0603020202020204" pitchFamily="34" charset="0"/>
                <a:ea typeface="Helvetica" charset="0"/>
                <a:cs typeface="Helvetica"/>
              </a:rPr>
              <a:t> D, et al. Poster presented at: ESMO Breast Cancer 2023; May 11-13, 2023; Berlin, Germany. Abstract #216P</a:t>
            </a:r>
          </a:p>
        </p:txBody>
      </p:sp>
      <p:grpSp>
        <p:nvGrpSpPr>
          <p:cNvPr id="21" name="object 33">
            <a:extLst>
              <a:ext uri="{FF2B5EF4-FFF2-40B4-BE49-F238E27FC236}">
                <a16:creationId xmlns:a16="http://schemas.microsoft.com/office/drawing/2014/main" id="{7137CED5-73E9-4193-AD84-82558251B4B5}"/>
              </a:ext>
            </a:extLst>
          </p:cNvPr>
          <p:cNvGrpSpPr/>
          <p:nvPr/>
        </p:nvGrpSpPr>
        <p:grpSpPr>
          <a:xfrm>
            <a:off x="2710890" y="7829705"/>
            <a:ext cx="4309000" cy="152997"/>
            <a:chOff x="435292" y="12779130"/>
            <a:chExt cx="4864100" cy="265430"/>
          </a:xfrm>
        </p:grpSpPr>
        <p:sp>
          <p:nvSpPr>
            <p:cNvPr id="22" name="object 34">
              <a:extLst>
                <a:ext uri="{FF2B5EF4-FFF2-40B4-BE49-F238E27FC236}">
                  <a16:creationId xmlns:a16="http://schemas.microsoft.com/office/drawing/2014/main" id="{E1BEF6C8-4BF7-48EE-95A6-6A667579E8E9}"/>
                </a:ext>
              </a:extLst>
            </p:cNvPr>
            <p:cNvSpPr/>
            <p:nvPr/>
          </p:nvSpPr>
          <p:spPr>
            <a:xfrm>
              <a:off x="435279" y="12779168"/>
              <a:ext cx="4864100" cy="259079"/>
            </a:xfrm>
            <a:custGeom>
              <a:avLst/>
              <a:gdLst/>
              <a:ahLst/>
              <a:cxnLst/>
              <a:rect l="l" t="t" r="r" b="b"/>
              <a:pathLst>
                <a:path w="4864100" h="259080">
                  <a:moveTo>
                    <a:pt x="3522383" y="0"/>
                  </a:moveTo>
                  <a:lnTo>
                    <a:pt x="0" y="0"/>
                  </a:lnTo>
                  <a:lnTo>
                    <a:pt x="0" y="259080"/>
                  </a:lnTo>
                  <a:lnTo>
                    <a:pt x="3522383" y="259080"/>
                  </a:lnTo>
                  <a:lnTo>
                    <a:pt x="3522383" y="0"/>
                  </a:lnTo>
                  <a:close/>
                </a:path>
                <a:path w="4864100" h="259080">
                  <a:moveTo>
                    <a:pt x="4863655" y="0"/>
                  </a:moveTo>
                  <a:lnTo>
                    <a:pt x="3522446" y="0"/>
                  </a:lnTo>
                  <a:lnTo>
                    <a:pt x="3522446" y="259080"/>
                  </a:lnTo>
                  <a:lnTo>
                    <a:pt x="4863655" y="259080"/>
                  </a:lnTo>
                  <a:lnTo>
                    <a:pt x="4863655" y="0"/>
                  </a:lnTo>
                  <a:close/>
                </a:path>
              </a:pathLst>
            </a:custGeom>
            <a:solidFill>
              <a:srgbClr val="C0504D">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4565B"/>
                </a:solidFill>
                <a:effectLst/>
                <a:uLnTx/>
                <a:uFillTx/>
                <a:latin typeface="Arial" panose="020B0604020202020204"/>
                <a:ea typeface="+mn-ea"/>
                <a:cs typeface="+mn-cs"/>
              </a:endParaRPr>
            </a:p>
          </p:txBody>
        </p:sp>
        <p:sp>
          <p:nvSpPr>
            <p:cNvPr id="23" name="object 35">
              <a:extLst>
                <a:ext uri="{FF2B5EF4-FFF2-40B4-BE49-F238E27FC236}">
                  <a16:creationId xmlns:a16="http://schemas.microsoft.com/office/drawing/2014/main" id="{79E37737-89CB-4310-A20A-2756BD24D3F0}"/>
                </a:ext>
              </a:extLst>
            </p:cNvPr>
            <p:cNvSpPr/>
            <p:nvPr/>
          </p:nvSpPr>
          <p:spPr>
            <a:xfrm>
              <a:off x="435292" y="13038210"/>
              <a:ext cx="4864100" cy="0"/>
            </a:xfrm>
            <a:custGeom>
              <a:avLst/>
              <a:gdLst/>
              <a:ahLst/>
              <a:cxnLst/>
              <a:rect l="l" t="t" r="r" b="b"/>
              <a:pathLst>
                <a:path w="4864100">
                  <a:moveTo>
                    <a:pt x="-11" y="29"/>
                  </a:moveTo>
                  <a:lnTo>
                    <a:pt x="4863648" y="29"/>
                  </a:lnTo>
                </a:path>
              </a:pathLst>
            </a:custGeom>
            <a:ln w="12699">
              <a:solidFill>
                <a:srgbClr val="C0504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4565B"/>
                </a:solidFill>
                <a:effectLst/>
                <a:uLnTx/>
                <a:uFillTx/>
                <a:latin typeface="Arial" panose="020B0604020202020204"/>
                <a:ea typeface="+mn-ea"/>
                <a:cs typeface="+mn-cs"/>
              </a:endParaRPr>
            </a:p>
          </p:txBody>
        </p:sp>
      </p:grpSp>
      <p:sp>
        <p:nvSpPr>
          <p:cNvPr id="9" name="TextBox 8">
            <a:extLst>
              <a:ext uri="{FF2B5EF4-FFF2-40B4-BE49-F238E27FC236}">
                <a16:creationId xmlns:a16="http://schemas.microsoft.com/office/drawing/2014/main" id="{CE2D104A-9BC3-4B69-87F2-B2ECCACB3AAE}"/>
              </a:ext>
            </a:extLst>
          </p:cNvPr>
          <p:cNvSpPr txBox="1"/>
          <p:nvPr/>
        </p:nvSpPr>
        <p:spPr>
          <a:xfrm>
            <a:off x="783771" y="749703"/>
            <a:ext cx="6928494" cy="369332"/>
          </a:xfrm>
          <a:prstGeom prst="rect">
            <a:avLst/>
          </a:prstGeom>
          <a:noFill/>
        </p:spPr>
        <p:txBody>
          <a:bodyPr wrap="square" lIns="91440" tIns="45720" rIns="91440" bIns="45720" anchor="t">
            <a:spAutoFit/>
          </a:bodyPr>
          <a:lstStyle/>
          <a:p>
            <a:pPr>
              <a:defRPr/>
            </a:pPr>
            <a:r>
              <a:rPr kumimoji="0" lang="en-US" b="1" i="0" u="none" strike="noStrike" kern="1200" cap="none" spc="0" normalizeH="0" baseline="0" noProof="0">
                <a:ln>
                  <a:noFill/>
                </a:ln>
                <a:solidFill>
                  <a:srgbClr val="54565B"/>
                </a:solidFill>
                <a:effectLst/>
                <a:uLnTx/>
                <a:uFillTx/>
                <a:latin typeface="Trebuchet MS"/>
              </a:rPr>
              <a:t>Table 1 – Demographic and disease characteristics at baseline</a:t>
            </a:r>
            <a:r>
              <a:rPr lang="en-US" b="1">
                <a:solidFill>
                  <a:srgbClr val="54565B"/>
                </a:solidFill>
                <a:latin typeface="Trebuchet MS"/>
              </a:rPr>
              <a:t> </a:t>
            </a:r>
            <a:endParaRPr lang="en-US" b="1" i="0" u="none" strike="noStrike" kern="1200" cap="none" spc="0" normalizeH="0" baseline="0" noProof="0">
              <a:ln>
                <a:noFill/>
              </a:ln>
              <a:solidFill>
                <a:srgbClr val="54565B"/>
              </a:solidFill>
              <a:effectLst/>
              <a:uLnTx/>
              <a:uFillTx/>
              <a:latin typeface="Trebuchet MS" panose="020B0603020202020204" pitchFamily="34" charset="0"/>
            </a:endParaRPr>
          </a:p>
        </p:txBody>
      </p:sp>
      <p:graphicFrame>
        <p:nvGraphicFramePr>
          <p:cNvPr id="13" name="Table 4">
            <a:extLst>
              <a:ext uri="{FF2B5EF4-FFF2-40B4-BE49-F238E27FC236}">
                <a16:creationId xmlns:a16="http://schemas.microsoft.com/office/drawing/2014/main" id="{114D000B-DA36-413F-B3EB-C939C6320833}"/>
              </a:ext>
            </a:extLst>
          </p:cNvPr>
          <p:cNvGraphicFramePr>
            <a:graphicFrameLocks/>
          </p:cNvGraphicFramePr>
          <p:nvPr>
            <p:extLst>
              <p:ext uri="{D42A27DB-BD31-4B8C-83A1-F6EECF244321}">
                <p14:modId xmlns:p14="http://schemas.microsoft.com/office/powerpoint/2010/main" val="1964781780"/>
              </p:ext>
            </p:extLst>
          </p:nvPr>
        </p:nvGraphicFramePr>
        <p:xfrm>
          <a:off x="304800" y="1119024"/>
          <a:ext cx="11697903" cy="5142840"/>
        </p:xfrm>
        <a:graphic>
          <a:graphicData uri="http://schemas.openxmlformats.org/drawingml/2006/table">
            <a:tbl>
              <a:tblPr firstRow="1" bandRow="1">
                <a:tableStyleId>{5C22544A-7EE6-4342-B048-85BDC9FD1C3A}</a:tableStyleId>
              </a:tblPr>
              <a:tblGrid>
                <a:gridCol w="9316396">
                  <a:extLst>
                    <a:ext uri="{9D8B030D-6E8A-4147-A177-3AD203B41FA5}">
                      <a16:colId xmlns:a16="http://schemas.microsoft.com/office/drawing/2014/main" val="1548546927"/>
                    </a:ext>
                  </a:extLst>
                </a:gridCol>
                <a:gridCol w="2381507">
                  <a:extLst>
                    <a:ext uri="{9D8B030D-6E8A-4147-A177-3AD203B41FA5}">
                      <a16:colId xmlns:a16="http://schemas.microsoft.com/office/drawing/2014/main" val="2789161514"/>
                    </a:ext>
                  </a:extLst>
                </a:gridCol>
              </a:tblGrid>
              <a:tr h="242760">
                <a:tc>
                  <a:txBody>
                    <a:bodyPr/>
                    <a:lstStyle/>
                    <a:p>
                      <a:endParaRPr lang="en-US" sz="1050">
                        <a:latin typeface="Trebuchet MS" panose="020B0603020202020204" pitchFamily="34" charset="0"/>
                      </a:endParaRPr>
                    </a:p>
                  </a:txBody>
                  <a:tcPr anchor="ctr"/>
                </a:tc>
                <a:tc>
                  <a:txBody>
                    <a:bodyPr/>
                    <a:lstStyle/>
                    <a:p>
                      <a:r>
                        <a:rPr lang="en-US" sz="1100">
                          <a:latin typeface="Trebuchet MS" panose="020B0603020202020204" pitchFamily="34" charset="0"/>
                        </a:rPr>
                        <a:t>N=103</a:t>
                      </a:r>
                    </a:p>
                  </a:txBody>
                  <a:tcPr anchor="ctr"/>
                </a:tc>
                <a:extLst>
                  <a:ext uri="{0D108BD9-81ED-4DB2-BD59-A6C34878D82A}">
                    <a16:rowId xmlns:a16="http://schemas.microsoft.com/office/drawing/2014/main" val="3951401061"/>
                  </a:ext>
                </a:extLst>
              </a:tr>
              <a:tr h="257040">
                <a:tc>
                  <a:txBody>
                    <a:bodyPr/>
                    <a:lstStyle/>
                    <a:p>
                      <a:r>
                        <a:rPr lang="en-US" sz="1050" b="1">
                          <a:latin typeface="Trebuchet MS" panose="020B0603020202020204" pitchFamily="34" charset="0"/>
                        </a:rPr>
                        <a:t>Female, n (%)</a:t>
                      </a:r>
                    </a:p>
                  </a:txBody>
                  <a:tcPr anchor="ctr"/>
                </a:tc>
                <a:tc>
                  <a:txBody>
                    <a:bodyPr/>
                    <a:lstStyle/>
                    <a:p>
                      <a:r>
                        <a:rPr lang="en-US" sz="1050" b="1">
                          <a:latin typeface="Trebuchet MS" panose="020B0603020202020204" pitchFamily="34" charset="0"/>
                        </a:rPr>
                        <a:t>103 (100%)</a:t>
                      </a:r>
                    </a:p>
                  </a:txBody>
                  <a:tcPr anchor="ctr"/>
                </a:tc>
                <a:extLst>
                  <a:ext uri="{0D108BD9-81ED-4DB2-BD59-A6C34878D82A}">
                    <a16:rowId xmlns:a16="http://schemas.microsoft.com/office/drawing/2014/main" val="2076730933"/>
                  </a:ext>
                </a:extLst>
              </a:tr>
              <a:tr h="257040">
                <a:tc>
                  <a:txBody>
                    <a:bodyPr/>
                    <a:lstStyle/>
                    <a:p>
                      <a:pPr marL="0" lvl="1"/>
                      <a:r>
                        <a:rPr lang="en-US" sz="1050" b="1">
                          <a:latin typeface="Trebuchet MS" panose="020B0603020202020204" pitchFamily="34" charset="0"/>
                        </a:rPr>
                        <a:t>Median age, years (range)</a:t>
                      </a:r>
                    </a:p>
                  </a:txBody>
                  <a:tcPr anchor="ctr"/>
                </a:tc>
                <a:tc>
                  <a:txBody>
                    <a:bodyPr/>
                    <a:lstStyle/>
                    <a:p>
                      <a:pPr marL="0" lvl="1"/>
                      <a:r>
                        <a:rPr lang="en-US" sz="1050" b="1">
                          <a:latin typeface="Trebuchet MS" panose="020B0603020202020204" pitchFamily="34" charset="0"/>
                        </a:rPr>
                        <a:t>55 (26-89)</a:t>
                      </a:r>
                    </a:p>
                  </a:txBody>
                  <a:tcPr anchor="ctr"/>
                </a:tc>
                <a:extLst>
                  <a:ext uri="{0D108BD9-81ED-4DB2-BD59-A6C34878D82A}">
                    <a16:rowId xmlns:a16="http://schemas.microsoft.com/office/drawing/2014/main" val="2955585022"/>
                  </a:ext>
                </a:extLst>
              </a:tr>
              <a:tr h="257040">
                <a:tc>
                  <a:txBody>
                    <a:bodyPr/>
                    <a:lstStyle/>
                    <a:p>
                      <a:pPr marL="0" lvl="1"/>
                      <a:r>
                        <a:rPr lang="en-US" sz="1050" b="1">
                          <a:latin typeface="Trebuchet MS" panose="020B0603020202020204" pitchFamily="34" charset="0"/>
                        </a:rPr>
                        <a:t>ECOG PS, n (%)</a:t>
                      </a:r>
                    </a:p>
                  </a:txBody>
                  <a:tcPr anchor="ctr"/>
                </a:tc>
                <a:tc>
                  <a:txBody>
                    <a:bodyPr/>
                    <a:lstStyle/>
                    <a:p>
                      <a:pPr marL="0" lvl="1"/>
                      <a:endParaRPr lang="en-US" sz="1050">
                        <a:latin typeface="Trebuchet MS" panose="020B0603020202020204" pitchFamily="34" charset="0"/>
                      </a:endParaRPr>
                    </a:p>
                  </a:txBody>
                  <a:tcPr anchor="ctr"/>
                </a:tc>
                <a:extLst>
                  <a:ext uri="{0D108BD9-81ED-4DB2-BD59-A6C34878D82A}">
                    <a16:rowId xmlns:a16="http://schemas.microsoft.com/office/drawing/2014/main" val="3111847703"/>
                  </a:ext>
                </a:extLst>
              </a:tr>
              <a:tr h="257040">
                <a:tc>
                  <a:txBody>
                    <a:bodyPr/>
                    <a:lstStyle/>
                    <a:p>
                      <a:pPr marL="182880" lvl="1"/>
                      <a:r>
                        <a:rPr lang="en-US" sz="1050" b="0">
                          <a:latin typeface="Trebuchet MS" panose="020B0603020202020204" pitchFamily="34" charset="0"/>
                        </a:rPr>
                        <a:t>0-1</a:t>
                      </a:r>
                    </a:p>
                  </a:txBody>
                  <a:tcPr anchor="ctr"/>
                </a:tc>
                <a:tc>
                  <a:txBody>
                    <a:bodyPr/>
                    <a:lstStyle/>
                    <a:p>
                      <a:pPr marL="0" lvl="1"/>
                      <a:r>
                        <a:rPr lang="en-US" sz="1050" b="0">
                          <a:latin typeface="Trebuchet MS" panose="020B0603020202020204" pitchFamily="34" charset="0"/>
                        </a:rPr>
                        <a:t>83 (80.6%)</a:t>
                      </a:r>
                    </a:p>
                  </a:txBody>
                  <a:tcPr anchor="ctr"/>
                </a:tc>
                <a:extLst>
                  <a:ext uri="{0D108BD9-81ED-4DB2-BD59-A6C34878D82A}">
                    <a16:rowId xmlns:a16="http://schemas.microsoft.com/office/drawing/2014/main" val="3743589647"/>
                  </a:ext>
                </a:extLst>
              </a:tr>
              <a:tr h="257040">
                <a:tc>
                  <a:txBody>
                    <a:bodyPr/>
                    <a:lstStyle/>
                    <a:p>
                      <a:pPr marL="182880" lvl="0"/>
                      <a:r>
                        <a:rPr lang="en-US" sz="1050" b="0">
                          <a:latin typeface="Trebuchet MS" panose="020B0603020202020204" pitchFamily="34" charset="0"/>
                        </a:rPr>
                        <a:t>≥2</a:t>
                      </a:r>
                    </a:p>
                  </a:txBody>
                  <a:tcPr anchor="ctr"/>
                </a:tc>
                <a:tc>
                  <a:txBody>
                    <a:bodyPr/>
                    <a:lstStyle/>
                    <a:p>
                      <a:pPr lvl="0"/>
                      <a:r>
                        <a:rPr lang="fr-FR" sz="1050" b="0">
                          <a:latin typeface="Trebuchet MS" panose="020B0603020202020204" pitchFamily="34" charset="0"/>
                        </a:rPr>
                        <a:t>17 (16.5%)</a:t>
                      </a:r>
                    </a:p>
                  </a:txBody>
                  <a:tcPr anchor="ctr"/>
                </a:tc>
                <a:extLst>
                  <a:ext uri="{0D108BD9-81ED-4DB2-BD59-A6C34878D82A}">
                    <a16:rowId xmlns:a16="http://schemas.microsoft.com/office/drawing/2014/main" val="3289124124"/>
                  </a:ext>
                </a:extLst>
              </a:tr>
              <a:tr h="257040">
                <a:tc>
                  <a:txBody>
                    <a:body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NA</a:t>
                      </a: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3 (2.9%)</a:t>
                      </a:r>
                    </a:p>
                  </a:txBody>
                  <a:tcPr anchor="ctr"/>
                </a:tc>
                <a:extLst>
                  <a:ext uri="{0D108BD9-81ED-4DB2-BD59-A6C34878D82A}">
                    <a16:rowId xmlns:a16="http://schemas.microsoft.com/office/drawing/2014/main" val="2224747660"/>
                  </a:ext>
                </a:extLst>
              </a:tr>
              <a:tr h="2570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1">
                          <a:latin typeface="Trebuchet MS" panose="020B0603020202020204" pitchFamily="34" charset="0"/>
                        </a:rPr>
                        <a:t>Number of prior lines of treatment in advanced setting, median (range)</a:t>
                      </a:r>
                    </a:p>
                  </a:txBody>
                  <a:tcPr anchor="ctr"/>
                </a:tc>
                <a:tc>
                  <a:txBody>
                    <a:bodyPr/>
                    <a:lstStyle/>
                    <a:p>
                      <a:pPr marL="0" lvl="1"/>
                      <a:r>
                        <a:rPr lang="pt-BR" sz="1050" b="1">
                          <a:latin typeface="Trebuchet MS" panose="020B0603020202020204" pitchFamily="34" charset="0"/>
                        </a:rPr>
                        <a:t>2 (1-10)</a:t>
                      </a:r>
                    </a:p>
                  </a:txBody>
                  <a:tcPr anchor="ctr"/>
                </a:tc>
                <a:extLst>
                  <a:ext uri="{0D108BD9-81ED-4DB2-BD59-A6C34878D82A}">
                    <a16:rowId xmlns:a16="http://schemas.microsoft.com/office/drawing/2014/main" val="2636922462"/>
                  </a:ext>
                </a:extLst>
              </a:tr>
              <a:tr h="257040">
                <a:tc>
                  <a:txBody>
                    <a:body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50">
                          <a:latin typeface="Trebuchet MS" panose="020B0603020202020204" pitchFamily="34" charset="0"/>
                        </a:rPr>
                        <a:t>1-2, n (%)</a:t>
                      </a:r>
                    </a:p>
                  </a:txBody>
                  <a:tcPr anchor="ctr"/>
                </a:tc>
                <a:tc>
                  <a:txBody>
                    <a:bodyPr/>
                    <a:lstStyle/>
                    <a:p>
                      <a:pPr marL="0" lvl="1"/>
                      <a:r>
                        <a:rPr lang="en-US" sz="1050">
                          <a:latin typeface="Trebuchet MS" panose="020B0603020202020204" pitchFamily="34" charset="0"/>
                        </a:rPr>
                        <a:t>66 (64.1%)</a:t>
                      </a:r>
                    </a:p>
                  </a:txBody>
                  <a:tcPr anchor="ctr"/>
                </a:tc>
                <a:extLst>
                  <a:ext uri="{0D108BD9-81ED-4DB2-BD59-A6C34878D82A}">
                    <a16:rowId xmlns:a16="http://schemas.microsoft.com/office/drawing/2014/main" val="2784301444"/>
                  </a:ext>
                </a:extLst>
              </a:tr>
              <a:tr h="257040">
                <a:tc>
                  <a:txBody>
                    <a:body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50">
                          <a:latin typeface="Trebuchet MS" panose="020B0603020202020204" pitchFamily="34" charset="0"/>
                        </a:rPr>
                        <a:t>&gt;2, n (%)</a:t>
                      </a:r>
                    </a:p>
                  </a:txBody>
                  <a:tcPr anchor="ctr"/>
                </a:tc>
                <a:tc>
                  <a:txBody>
                    <a:bodyPr/>
                    <a:lstStyle/>
                    <a:p>
                      <a:pPr marL="0" lvl="1"/>
                      <a:r>
                        <a:rPr lang="en-US" sz="1050">
                          <a:latin typeface="Trebuchet MS" panose="020B0603020202020204" pitchFamily="34" charset="0"/>
                        </a:rPr>
                        <a:t>37 (35.9%)</a:t>
                      </a:r>
                    </a:p>
                  </a:txBody>
                  <a:tcPr anchor="ctr"/>
                </a:tc>
                <a:extLst>
                  <a:ext uri="{0D108BD9-81ED-4DB2-BD59-A6C34878D82A}">
                    <a16:rowId xmlns:a16="http://schemas.microsoft.com/office/drawing/2014/main" val="2124862073"/>
                  </a:ext>
                </a:extLst>
              </a:tr>
              <a:tr h="2570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1">
                          <a:latin typeface="Trebuchet MS" panose="020B0603020202020204" pitchFamily="34" charset="0"/>
                        </a:rPr>
                        <a:t>Previous use of PARP inhibitors, n (%)</a:t>
                      </a:r>
                    </a:p>
                  </a:txBody>
                  <a:tcPr anchor="ctr"/>
                </a:tc>
                <a:tc>
                  <a:txBody>
                    <a:bodyPr/>
                    <a:lstStyle/>
                    <a:p>
                      <a:pPr marL="0" lvl="1"/>
                      <a:r>
                        <a:rPr lang="en-US" sz="1050" b="1">
                          <a:latin typeface="Trebuchet MS" panose="020B0603020202020204" pitchFamily="34" charset="0"/>
                        </a:rPr>
                        <a:t>6 (5.8%)</a:t>
                      </a:r>
                    </a:p>
                  </a:txBody>
                  <a:tcPr anchor="ctr"/>
                </a:tc>
                <a:extLst>
                  <a:ext uri="{0D108BD9-81ED-4DB2-BD59-A6C34878D82A}">
                    <a16:rowId xmlns:a16="http://schemas.microsoft.com/office/drawing/2014/main" val="2181216312"/>
                  </a:ext>
                </a:extLst>
              </a:tr>
              <a:tr h="2570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1">
                          <a:latin typeface="Trebuchet MS" panose="020B0603020202020204" pitchFamily="34" charset="0"/>
                        </a:rPr>
                        <a:t>Previous use of anti-PD-1/PD-L1,n (%)</a:t>
                      </a:r>
                    </a:p>
                  </a:txBody>
                  <a:tcPr anchor="ctr"/>
                </a:tc>
                <a:tc>
                  <a:txBody>
                    <a:bodyPr/>
                    <a:lstStyle/>
                    <a:p>
                      <a:pPr marL="0" lvl="1"/>
                      <a:r>
                        <a:rPr lang="en-US" sz="1050" b="1">
                          <a:latin typeface="Trebuchet MS" panose="020B0603020202020204" pitchFamily="34" charset="0"/>
                        </a:rPr>
                        <a:t>29 (28.2%)</a:t>
                      </a:r>
                    </a:p>
                  </a:txBody>
                  <a:tcPr anchor="ctr"/>
                </a:tc>
                <a:extLst>
                  <a:ext uri="{0D108BD9-81ED-4DB2-BD59-A6C34878D82A}">
                    <a16:rowId xmlns:a16="http://schemas.microsoft.com/office/drawing/2014/main" val="2318607346"/>
                  </a:ext>
                </a:extLst>
              </a:tr>
              <a:tr h="2570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1">
                          <a:latin typeface="Trebuchet MS" panose="020B0603020202020204" pitchFamily="34" charset="0"/>
                        </a:rPr>
                        <a:t>BRCA1/2 germline mutational status, n (%)</a:t>
                      </a:r>
                    </a:p>
                  </a:txBody>
                  <a:tcPr anchor="ctr"/>
                </a:tc>
                <a:tc>
                  <a:txBody>
                    <a:bodyPr/>
                    <a:lstStyle/>
                    <a:p>
                      <a:pPr marL="0" lvl="1"/>
                      <a:endParaRPr lang="en-US" sz="1050">
                        <a:latin typeface="Trebuchet MS" panose="020B0603020202020204" pitchFamily="34" charset="0"/>
                      </a:endParaRPr>
                    </a:p>
                  </a:txBody>
                  <a:tcPr anchor="ctr"/>
                </a:tc>
                <a:extLst>
                  <a:ext uri="{0D108BD9-81ED-4DB2-BD59-A6C34878D82A}">
                    <a16:rowId xmlns:a16="http://schemas.microsoft.com/office/drawing/2014/main" val="3469794104"/>
                  </a:ext>
                </a:extLst>
              </a:tr>
              <a:tr h="257040">
                <a:tc>
                  <a:txBody>
                    <a:body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50">
                          <a:latin typeface="Trebuchet MS" panose="020B0603020202020204" pitchFamily="34" charset="0"/>
                        </a:rPr>
                        <a:t>Mutated</a:t>
                      </a:r>
                    </a:p>
                  </a:txBody>
                  <a:tcPr anchor="ctr"/>
                </a:tc>
                <a:tc>
                  <a:txBody>
                    <a:bodyPr/>
                    <a:lstStyle/>
                    <a:p>
                      <a:pPr marL="0" lvl="1"/>
                      <a:r>
                        <a:rPr lang="en-US" sz="1050">
                          <a:latin typeface="Trebuchet MS" panose="020B0603020202020204" pitchFamily="34" charset="0"/>
                        </a:rPr>
                        <a:t>8 (7.8%)</a:t>
                      </a:r>
                    </a:p>
                  </a:txBody>
                  <a:tcPr anchor="ctr"/>
                </a:tc>
                <a:extLst>
                  <a:ext uri="{0D108BD9-81ED-4DB2-BD59-A6C34878D82A}">
                    <a16:rowId xmlns:a16="http://schemas.microsoft.com/office/drawing/2014/main" val="786025156"/>
                  </a:ext>
                </a:extLst>
              </a:tr>
              <a:tr h="257040">
                <a:tc>
                  <a:txBody>
                    <a:body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50">
                          <a:latin typeface="Trebuchet MS" panose="020B0603020202020204" pitchFamily="34" charset="0"/>
                        </a:rPr>
                        <a:t>Non-mutated</a:t>
                      </a:r>
                    </a:p>
                  </a:txBody>
                  <a:tcPr anchor="ctr"/>
                </a:tc>
                <a:tc>
                  <a:txBody>
                    <a:bodyPr/>
                    <a:lstStyle/>
                    <a:p>
                      <a:pPr marL="0" lvl="1"/>
                      <a:r>
                        <a:rPr lang="en-US" sz="1050">
                          <a:latin typeface="Trebuchet MS" panose="020B0603020202020204" pitchFamily="34" charset="0"/>
                        </a:rPr>
                        <a:t>86 (83.5%)</a:t>
                      </a:r>
                    </a:p>
                  </a:txBody>
                  <a:tcPr anchor="ctr"/>
                </a:tc>
                <a:extLst>
                  <a:ext uri="{0D108BD9-81ED-4DB2-BD59-A6C34878D82A}">
                    <a16:rowId xmlns:a16="http://schemas.microsoft.com/office/drawing/2014/main" val="2548059174"/>
                  </a:ext>
                </a:extLst>
              </a:tr>
              <a:tr h="257040">
                <a:tc>
                  <a:txBody>
                    <a:body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50">
                          <a:latin typeface="Trebuchet MS" panose="020B0603020202020204" pitchFamily="34" charset="0"/>
                        </a:rPr>
                        <a:t>NA</a:t>
                      </a:r>
                    </a:p>
                  </a:txBody>
                  <a:tcPr anchor="ctr"/>
                </a:tc>
                <a:tc>
                  <a:txBody>
                    <a:bodyPr/>
                    <a:lstStyle/>
                    <a:p>
                      <a:pPr marL="0" lvl="1"/>
                      <a:r>
                        <a:rPr lang="en-US" sz="1050">
                          <a:latin typeface="Trebuchet MS" panose="020B0603020202020204" pitchFamily="34" charset="0"/>
                        </a:rPr>
                        <a:t>9 (8.7%)</a:t>
                      </a:r>
                    </a:p>
                  </a:txBody>
                  <a:tcPr anchor="ctr"/>
                </a:tc>
                <a:extLst>
                  <a:ext uri="{0D108BD9-81ED-4DB2-BD59-A6C34878D82A}">
                    <a16:rowId xmlns:a16="http://schemas.microsoft.com/office/drawing/2014/main" val="2050910686"/>
                  </a:ext>
                </a:extLst>
              </a:tr>
              <a:tr h="257040">
                <a:tc>
                  <a:txBody>
                    <a:body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50" b="1">
                          <a:latin typeface="Trebuchet MS" panose="020B0603020202020204" pitchFamily="34" charset="0"/>
                        </a:rPr>
                        <a:t>De novo metastatic disease</a:t>
                      </a:r>
                    </a:p>
                  </a:txBody>
                  <a:tcPr anchor="ctr"/>
                </a:tc>
                <a:tc>
                  <a:txBody>
                    <a:bodyPr/>
                    <a:lstStyle/>
                    <a:p>
                      <a:pPr marL="0" lvl="1"/>
                      <a:r>
                        <a:rPr lang="en-US" sz="1050" b="1">
                          <a:latin typeface="Trebuchet MS" panose="020B0603020202020204" pitchFamily="34" charset="0"/>
                        </a:rPr>
                        <a:t>15 (14.6%)</a:t>
                      </a:r>
                    </a:p>
                  </a:txBody>
                  <a:tcPr anchor="ctr"/>
                </a:tc>
                <a:extLst>
                  <a:ext uri="{0D108BD9-81ED-4DB2-BD59-A6C34878D82A}">
                    <a16:rowId xmlns:a16="http://schemas.microsoft.com/office/drawing/2014/main" val="3128171231"/>
                  </a:ext>
                </a:extLst>
              </a:tr>
              <a:tr h="257040">
                <a:tc>
                  <a:txBody>
                    <a:body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50" b="1">
                          <a:latin typeface="Trebuchet MS" panose="020B0603020202020204" pitchFamily="34" charset="0"/>
                        </a:rPr>
                        <a:t>Brain metastases*</a:t>
                      </a:r>
                    </a:p>
                  </a:txBody>
                  <a:tcPr anchor="ctr"/>
                </a:tc>
                <a:tc>
                  <a:txBody>
                    <a:bodyPr/>
                    <a:lstStyle/>
                    <a:p>
                      <a:pPr marL="0" lvl="1"/>
                      <a:r>
                        <a:rPr lang="en-US" sz="1050" b="1">
                          <a:latin typeface="Trebuchet MS" panose="020B0603020202020204" pitchFamily="34" charset="0"/>
                        </a:rPr>
                        <a:t>32 (31.1%)</a:t>
                      </a:r>
                    </a:p>
                  </a:txBody>
                  <a:tcPr anchor="ctr"/>
                </a:tc>
                <a:extLst>
                  <a:ext uri="{0D108BD9-81ED-4DB2-BD59-A6C34878D82A}">
                    <a16:rowId xmlns:a16="http://schemas.microsoft.com/office/drawing/2014/main" val="2485356438"/>
                  </a:ext>
                </a:extLst>
              </a:tr>
              <a:tr h="257040">
                <a:tc>
                  <a:txBody>
                    <a:body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50" b="1">
                          <a:latin typeface="Trebuchet MS" panose="020B0603020202020204" pitchFamily="34" charset="0"/>
                        </a:rPr>
                        <a:t>Visceral metastasis </a:t>
                      </a:r>
                    </a:p>
                  </a:txBody>
                  <a:tcPr anchor="ctr"/>
                </a:tc>
                <a:tc>
                  <a:txBody>
                    <a:bodyPr/>
                    <a:lstStyle/>
                    <a:p>
                      <a:pPr marL="0" lvl="1"/>
                      <a:r>
                        <a:rPr lang="en-US" sz="1050" b="1">
                          <a:latin typeface="Trebuchet MS" panose="020B0603020202020204" pitchFamily="34" charset="0"/>
                        </a:rPr>
                        <a:t>82 (79.6%)</a:t>
                      </a:r>
                    </a:p>
                  </a:txBody>
                  <a:tcPr anchor="ctr"/>
                </a:tc>
                <a:extLst>
                  <a:ext uri="{0D108BD9-81ED-4DB2-BD59-A6C34878D82A}">
                    <a16:rowId xmlns:a16="http://schemas.microsoft.com/office/drawing/2014/main" val="2019256443"/>
                  </a:ext>
                </a:extLst>
              </a:tr>
              <a:tr h="257040">
                <a:tc>
                  <a:txBody>
                    <a:body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50" b="1">
                          <a:latin typeface="Trebuchet MS" panose="020B0603020202020204" pitchFamily="34" charset="0"/>
                        </a:rPr>
                        <a:t>Liver metastasis </a:t>
                      </a:r>
                    </a:p>
                  </a:txBody>
                  <a:tcPr anchor="ctr"/>
                </a:tc>
                <a:tc>
                  <a:txBody>
                    <a:bodyPr/>
                    <a:lstStyle/>
                    <a:p>
                      <a:pPr marL="0" lvl="1"/>
                      <a:r>
                        <a:rPr lang="en-US" sz="1050" b="1">
                          <a:latin typeface="Trebuchet MS" panose="020B0603020202020204" pitchFamily="34" charset="0"/>
                        </a:rPr>
                        <a:t>45 (43.7%)</a:t>
                      </a:r>
                    </a:p>
                  </a:txBody>
                  <a:tcPr anchor="ctr"/>
                </a:tc>
                <a:extLst>
                  <a:ext uri="{0D108BD9-81ED-4DB2-BD59-A6C34878D82A}">
                    <a16:rowId xmlns:a16="http://schemas.microsoft.com/office/drawing/2014/main" val="2433226806"/>
                  </a:ext>
                </a:extLst>
              </a:tr>
            </a:tbl>
          </a:graphicData>
        </a:graphic>
      </p:graphicFrame>
    </p:spTree>
    <p:extLst>
      <p:ext uri="{BB962C8B-B14F-4D97-AF65-F5344CB8AC3E}">
        <p14:creationId xmlns:p14="http://schemas.microsoft.com/office/powerpoint/2010/main" val="11487339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CC565F1-6ECA-4A54-89D2-F4F21842C4A0}"/>
              </a:ext>
            </a:extLst>
          </p:cNvPr>
          <p:cNvSpPr>
            <a:spLocks noGrp="1"/>
          </p:cNvSpPr>
          <p:nvPr>
            <p:ph type="title"/>
          </p:nvPr>
        </p:nvSpPr>
        <p:spPr/>
        <p:txBody>
          <a:bodyPr/>
          <a:lstStyle/>
          <a:p>
            <a:r>
              <a:rPr lang="en-US">
                <a:solidFill>
                  <a:srgbClr val="203661"/>
                </a:solidFill>
                <a:latin typeface="Trebuchet MS" panose="020B0603020202020204" pitchFamily="34" charset="0"/>
                <a:ea typeface="+mj-ea"/>
              </a:rPr>
              <a:t>Efficacy Results</a:t>
            </a:r>
            <a:r>
              <a:rPr lang="en-US" baseline="30000">
                <a:solidFill>
                  <a:srgbClr val="203661"/>
                </a:solidFill>
                <a:latin typeface="Trebuchet MS" panose="020B0603020202020204" pitchFamily="34" charset="0"/>
                <a:ea typeface="+mj-ea"/>
              </a:rPr>
              <a:t>1</a:t>
            </a:r>
            <a:br>
              <a:rPr lang="en-US" sz="2400"/>
            </a:br>
            <a:br>
              <a:rPr lang="en-US" sz="2400"/>
            </a:br>
            <a:br>
              <a:rPr lang="en-CH"/>
            </a:br>
            <a:endParaRPr lang="en-IN" baseline="30000"/>
          </a:p>
        </p:txBody>
      </p:sp>
      <p:sp>
        <p:nvSpPr>
          <p:cNvPr id="12" name="Text Placeholder 11">
            <a:extLst>
              <a:ext uri="{FF2B5EF4-FFF2-40B4-BE49-F238E27FC236}">
                <a16:creationId xmlns:a16="http://schemas.microsoft.com/office/drawing/2014/main" id="{DE2F887C-C2AE-4BCB-9230-50E7EAC81F38}"/>
              </a:ext>
            </a:extLst>
          </p:cNvPr>
          <p:cNvSpPr>
            <a:spLocks noGrp="1"/>
          </p:cNvSpPr>
          <p:nvPr>
            <p:ph type="body" sz="quarter" idx="13"/>
          </p:nvPr>
        </p:nvSpPr>
        <p:spPr>
          <a:xfrm>
            <a:off x="568793" y="5964198"/>
            <a:ext cx="9478456" cy="704449"/>
          </a:xfrm>
        </p:spPr>
        <p:txBody>
          <a:bodyPr/>
          <a:lstStyle/>
          <a:p>
            <a:pPr>
              <a:spcAft>
                <a:spcPts val="0"/>
              </a:spcAft>
            </a:pPr>
            <a:r>
              <a:rPr lang="en-US" sz="700" kern="1200">
                <a:latin typeface="Trebuchet MS" panose="020B0603020202020204" pitchFamily="34" charset="0"/>
                <a:ea typeface="Helvetica" charset="0"/>
                <a:cs typeface="Helvetica"/>
              </a:rPr>
              <a:t>CI, confidence interval; EAP, Early Access Program; </a:t>
            </a:r>
            <a:r>
              <a:rPr lang="en-US" sz="700" kern="1200" err="1">
                <a:latin typeface="Trebuchet MS" panose="020B0603020202020204" pitchFamily="34" charset="0"/>
                <a:ea typeface="Helvetica" charset="0"/>
                <a:cs typeface="Helvetica"/>
              </a:rPr>
              <a:t>mo</a:t>
            </a:r>
            <a:r>
              <a:rPr lang="en-US" sz="700" kern="1200">
                <a:latin typeface="Trebuchet MS" panose="020B0603020202020204" pitchFamily="34" charset="0"/>
                <a:ea typeface="Helvetica" charset="0"/>
                <a:cs typeface="Helvetica"/>
              </a:rPr>
              <a:t>, months; ORR, objective response rate; OS, overall survival; PFS, progression free survival; SG, </a:t>
            </a:r>
            <a:r>
              <a:rPr lang="en-US" sz="700" kern="1200" err="1">
                <a:latin typeface="Trebuchet MS" panose="020B0603020202020204" pitchFamily="34" charset="0"/>
                <a:ea typeface="Helvetica" charset="0"/>
                <a:cs typeface="Helvetica"/>
              </a:rPr>
              <a:t>sacituzumab</a:t>
            </a:r>
            <a:r>
              <a:rPr lang="en-US" sz="700" kern="1200">
                <a:latin typeface="Trebuchet MS" panose="020B0603020202020204" pitchFamily="34" charset="0"/>
                <a:ea typeface="Helvetica" charset="0"/>
                <a:cs typeface="Helvetica"/>
              </a:rPr>
              <a:t> </a:t>
            </a:r>
            <a:r>
              <a:rPr lang="en-US" sz="700" kern="1200" err="1">
                <a:latin typeface="Trebuchet MS" panose="020B0603020202020204" pitchFamily="34" charset="0"/>
                <a:ea typeface="Helvetica" charset="0"/>
                <a:cs typeface="Helvetica"/>
              </a:rPr>
              <a:t>govitecan</a:t>
            </a:r>
            <a:r>
              <a:rPr lang="en-US" sz="700" kern="1200">
                <a:latin typeface="Trebuchet MS" panose="020B0603020202020204" pitchFamily="34" charset="0"/>
                <a:ea typeface="Helvetica" charset="0"/>
                <a:cs typeface="Helvetica"/>
              </a:rPr>
              <a:t>; </a:t>
            </a:r>
            <a:r>
              <a:rPr lang="en-US" sz="700" kern="1200" err="1">
                <a:latin typeface="Trebuchet MS" panose="020B0603020202020204" pitchFamily="34" charset="0"/>
                <a:ea typeface="Helvetica" charset="0"/>
                <a:cs typeface="Helvetica"/>
              </a:rPr>
              <a:t>mTNBC</a:t>
            </a:r>
            <a:r>
              <a:rPr lang="en-US" sz="700" kern="1200">
                <a:latin typeface="Trebuchet MS" panose="020B0603020202020204" pitchFamily="34" charset="0"/>
                <a:ea typeface="Helvetica" charset="0"/>
                <a:cs typeface="Helvetica"/>
              </a:rPr>
              <a:t>, metastatic triple-negative breast cancer. </a:t>
            </a:r>
          </a:p>
          <a:p>
            <a:pPr>
              <a:spcAft>
                <a:spcPts val="0"/>
              </a:spcAft>
            </a:pPr>
            <a:r>
              <a:rPr lang="en-US" sz="700" kern="1200">
                <a:latin typeface="Trebuchet MS" panose="020B0603020202020204" pitchFamily="34" charset="0"/>
                <a:ea typeface="Helvetica" charset="0"/>
                <a:cs typeface="Helvetica"/>
              </a:rPr>
              <a:t>1. </a:t>
            </a:r>
            <a:r>
              <a:rPr lang="en-US" sz="700" kern="1200" err="1">
                <a:latin typeface="Trebuchet MS" panose="020B0603020202020204" pitchFamily="34" charset="0"/>
                <a:ea typeface="Helvetica" charset="0"/>
                <a:cs typeface="Helvetica"/>
              </a:rPr>
              <a:t>Loirat</a:t>
            </a:r>
            <a:r>
              <a:rPr lang="en-US" sz="700" kern="1200">
                <a:latin typeface="Trebuchet MS" panose="020B0603020202020204" pitchFamily="34" charset="0"/>
                <a:ea typeface="Helvetica" charset="0"/>
                <a:cs typeface="Helvetica"/>
              </a:rPr>
              <a:t> D, et al. Poster presented at: ESMO Breast Cancer 2023; May 11-13, 2023; Berlin, Germany. Abstract #216P</a:t>
            </a:r>
          </a:p>
        </p:txBody>
      </p:sp>
      <p:sp>
        <p:nvSpPr>
          <p:cNvPr id="13" name="TextBox 12">
            <a:extLst>
              <a:ext uri="{FF2B5EF4-FFF2-40B4-BE49-F238E27FC236}">
                <a16:creationId xmlns:a16="http://schemas.microsoft.com/office/drawing/2014/main" id="{183F401A-0660-494D-AEEB-BBE2C4054F8E}"/>
              </a:ext>
            </a:extLst>
          </p:cNvPr>
          <p:cNvSpPr txBox="1"/>
          <p:nvPr/>
        </p:nvSpPr>
        <p:spPr>
          <a:xfrm>
            <a:off x="568793" y="680499"/>
            <a:ext cx="10983951" cy="574516"/>
          </a:xfrm>
          <a:prstGeom prst="rect">
            <a:avLst/>
          </a:prstGeom>
          <a:noFill/>
        </p:spPr>
        <p:txBody>
          <a:bodyPr wrap="square">
            <a:spAutoFit/>
          </a:bodyPr>
          <a:lstStyle/>
          <a:p>
            <a:pPr marL="497204" marR="0" lvl="0" indent="-285750" algn="just"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From</a:t>
            </a:r>
            <a:r>
              <a:rPr kumimoji="0" lang="en-US" sz="1400" b="0" i="0" u="none" strike="noStrike" kern="1200" cap="none" spc="0"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May</a:t>
            </a:r>
            <a:r>
              <a:rPr kumimoji="0" lang="en-US" sz="1400" b="0" i="0" u="none" strike="noStrike" kern="1200" cap="none" spc="30"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2021</a:t>
            </a:r>
            <a:r>
              <a:rPr kumimoji="0" lang="en-US" sz="1400" b="0" i="0" u="none" strike="noStrike" kern="1200" cap="none" spc="25"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and</a:t>
            </a:r>
            <a:r>
              <a:rPr kumimoji="0" lang="en-US" sz="1400" b="0" i="0" u="none" strike="noStrike" kern="1200" cap="none" spc="10"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to</a:t>
            </a:r>
            <a:r>
              <a:rPr kumimoji="0" lang="en-US" sz="1400" b="0" i="0" u="none" strike="noStrike" kern="1200" cap="none" spc="20"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January</a:t>
            </a:r>
            <a:r>
              <a:rPr kumimoji="0" lang="en-US" sz="1400" b="0" i="0" u="none" strike="noStrike" kern="1200" cap="none" spc="30"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2023,</a:t>
            </a:r>
            <a:r>
              <a:rPr kumimoji="0" lang="en-US" sz="1400" b="0" i="0" u="none" strike="noStrike" kern="1200" cap="none" spc="20"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103</a:t>
            </a:r>
            <a:r>
              <a:rPr kumimoji="0" lang="en-US" sz="1400" b="0" i="0" u="none" strike="noStrike" kern="1200" cap="none" spc="10"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patients</a:t>
            </a:r>
            <a:r>
              <a:rPr kumimoji="0" lang="en-US" sz="1400" b="0" i="0" u="none" strike="noStrike" kern="1200" cap="none" spc="30"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were</a:t>
            </a:r>
            <a:r>
              <a:rPr kumimoji="0" lang="en-US" sz="1400" b="0" i="0" u="none" strike="noStrike" kern="1200" cap="none" spc="15"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treated</a:t>
            </a:r>
            <a:r>
              <a:rPr kumimoji="0" lang="en-US" sz="1400" b="0" i="0" u="none" strike="noStrike" kern="1200" cap="none" spc="30"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with</a:t>
            </a:r>
            <a:r>
              <a:rPr kumimoji="0" lang="en-US" sz="1400" b="0" i="0" u="none" strike="noStrike" kern="1200" cap="none" spc="20"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SG</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under</a:t>
            </a:r>
            <a:r>
              <a:rPr kumimoji="0" lang="en-US" sz="1400" b="0" i="0" u="none" strike="noStrike" kern="1200" cap="none" spc="30"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the</a:t>
            </a:r>
            <a:r>
              <a:rPr kumimoji="0" lang="en-US" sz="1400" b="0" i="0" u="none" strike="noStrike" kern="1200" cap="none" spc="25"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EAP.</a:t>
            </a:r>
            <a:r>
              <a:rPr kumimoji="0" lang="en-US" sz="1400" b="0" i="0" u="none" strike="noStrike" kern="1200" cap="none" spc="15" normalizeH="0" baseline="0" noProof="0">
                <a:ln>
                  <a:noFill/>
                </a:ln>
                <a:solidFill>
                  <a:srgbClr val="54565B"/>
                </a:solidFill>
                <a:effectLst/>
                <a:uLnTx/>
                <a:uFillTx/>
                <a:latin typeface="Trebuchet MS" panose="020B0603020202020204" pitchFamily="34" charset="0"/>
                <a:ea typeface="+mn-ea"/>
                <a:cs typeface="Calibri"/>
              </a:rPr>
              <a:t> </a:t>
            </a:r>
          </a:p>
          <a:p>
            <a:pPr marL="497204" marR="0" lvl="0" indent="-285750" algn="just"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Median</a:t>
            </a:r>
            <a:r>
              <a:rPr kumimoji="0" lang="en-US" sz="1400" b="0" i="0" u="none" strike="noStrike" kern="1200" cap="none" spc="25"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follow-up</a:t>
            </a:r>
            <a:r>
              <a:rPr kumimoji="0" lang="en-US" sz="1400" b="0" i="0" u="none" strike="noStrike" kern="1200" cap="none" spc="35"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was</a:t>
            </a:r>
            <a:r>
              <a:rPr kumimoji="0" lang="en-US" sz="1400" b="0" i="0" u="none" strike="noStrike" kern="1200" cap="none" spc="20"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9.6</a:t>
            </a:r>
            <a:r>
              <a:rPr kumimoji="0" lang="en-US" sz="1400" b="0" i="0" u="none" strike="noStrike" kern="1200" cap="none" spc="25" normalizeH="0" baseline="0" noProof="0">
                <a:ln>
                  <a:noFill/>
                </a:ln>
                <a:solidFill>
                  <a:srgbClr val="54565B"/>
                </a:solidFill>
                <a:effectLst/>
                <a:uLnTx/>
                <a:uFillTx/>
                <a:latin typeface="Trebuchet MS" panose="020B0603020202020204" pitchFamily="34" charset="0"/>
                <a:ea typeface="+mn-ea"/>
                <a:cs typeface="Calibri"/>
              </a:rPr>
              <a:t> </a:t>
            </a:r>
            <a:r>
              <a:rPr kumimoji="0" lang="en-US" sz="1400" b="0" i="0" u="none" strike="noStrike" kern="1200" cap="none" spc="-5" normalizeH="0" baseline="0" noProof="0">
                <a:ln>
                  <a:noFill/>
                </a:ln>
                <a:solidFill>
                  <a:srgbClr val="54565B"/>
                </a:solidFill>
                <a:effectLst/>
                <a:uLnTx/>
                <a:uFillTx/>
                <a:latin typeface="Trebuchet MS" panose="020B0603020202020204" pitchFamily="34" charset="0"/>
                <a:ea typeface="+mn-ea"/>
                <a:cs typeface="Calibri"/>
              </a:rPr>
              <a:t>months.</a:t>
            </a:r>
            <a:endParaRPr kumimoji="0" lang="en-US" sz="1400" b="0" i="0" u="none" strike="noStrike" kern="1200" cap="none" spc="0" normalizeH="0" baseline="0" noProof="0">
              <a:ln>
                <a:noFill/>
              </a:ln>
              <a:solidFill>
                <a:srgbClr val="54565B"/>
              </a:solidFill>
              <a:effectLst/>
              <a:uLnTx/>
              <a:uFillTx/>
              <a:latin typeface="Trebuchet MS" panose="020B0603020202020204" pitchFamily="34" charset="0"/>
              <a:ea typeface="+mn-ea"/>
              <a:cs typeface="Calibri"/>
            </a:endParaRPr>
          </a:p>
        </p:txBody>
      </p:sp>
      <p:sp>
        <p:nvSpPr>
          <p:cNvPr id="15" name="TextBox 14">
            <a:extLst>
              <a:ext uri="{FF2B5EF4-FFF2-40B4-BE49-F238E27FC236}">
                <a16:creationId xmlns:a16="http://schemas.microsoft.com/office/drawing/2014/main" id="{41173A12-5C7E-4A44-BFA9-D8291317B586}"/>
              </a:ext>
            </a:extLst>
          </p:cNvPr>
          <p:cNvSpPr txBox="1"/>
          <p:nvPr/>
        </p:nvSpPr>
        <p:spPr>
          <a:xfrm>
            <a:off x="2761224" y="4200219"/>
            <a:ext cx="6716903" cy="26161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54565B"/>
                </a:solidFill>
                <a:effectLst/>
                <a:uLnTx/>
                <a:uFillTx/>
                <a:latin typeface="Trebuchet MS"/>
                <a:ea typeface="+mn-ea"/>
                <a:cs typeface="+mn-cs"/>
              </a:rPr>
              <a:t>Table 2 – Treatment efficacy and response in all patients and in patients with brain metastasis</a:t>
            </a:r>
          </a:p>
        </p:txBody>
      </p:sp>
      <p:sp>
        <p:nvSpPr>
          <p:cNvPr id="27" name="TextBox 26">
            <a:extLst>
              <a:ext uri="{FF2B5EF4-FFF2-40B4-BE49-F238E27FC236}">
                <a16:creationId xmlns:a16="http://schemas.microsoft.com/office/drawing/2014/main" id="{2A111048-E2E0-4EF7-8460-7CFDED73E23D}"/>
              </a:ext>
            </a:extLst>
          </p:cNvPr>
          <p:cNvSpPr txBox="1"/>
          <p:nvPr/>
        </p:nvSpPr>
        <p:spPr>
          <a:xfrm>
            <a:off x="2791312" y="1314683"/>
            <a:ext cx="7166075" cy="30777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4565B"/>
                </a:solidFill>
                <a:effectLst/>
                <a:uLnTx/>
                <a:uFillTx/>
                <a:latin typeface="Trebuchet MS"/>
                <a:ea typeface="+mn-ea"/>
                <a:cs typeface="+mn-cs"/>
              </a:rPr>
              <a:t>Figure 1 – Kaplan-Meier Estimates of progression-free (A) and overall survival (B)</a:t>
            </a:r>
          </a:p>
        </p:txBody>
      </p:sp>
      <p:cxnSp>
        <p:nvCxnSpPr>
          <p:cNvPr id="7" name="Straight Connector 6">
            <a:extLst>
              <a:ext uri="{FF2B5EF4-FFF2-40B4-BE49-F238E27FC236}">
                <a16:creationId xmlns:a16="http://schemas.microsoft.com/office/drawing/2014/main" id="{45D3DC5E-6913-4030-8B0E-C5ADAE061854}"/>
              </a:ext>
            </a:extLst>
          </p:cNvPr>
          <p:cNvCxnSpPr/>
          <p:nvPr/>
        </p:nvCxnSpPr>
        <p:spPr>
          <a:xfrm>
            <a:off x="474817" y="4114817"/>
            <a:ext cx="113988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62" name="Chart 61">
            <a:extLst>
              <a:ext uri="{FF2B5EF4-FFF2-40B4-BE49-F238E27FC236}">
                <a16:creationId xmlns:a16="http://schemas.microsoft.com/office/drawing/2014/main" id="{2469A7ED-4FF1-43F4-BF7E-71D639021003}"/>
              </a:ext>
            </a:extLst>
          </p:cNvPr>
          <p:cNvGraphicFramePr/>
          <p:nvPr/>
        </p:nvGraphicFramePr>
        <p:xfrm>
          <a:off x="2220998" y="1586945"/>
          <a:ext cx="3339221" cy="17674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3" name="Chart 62">
            <a:extLst>
              <a:ext uri="{FF2B5EF4-FFF2-40B4-BE49-F238E27FC236}">
                <a16:creationId xmlns:a16="http://schemas.microsoft.com/office/drawing/2014/main" id="{8763F535-7010-43A0-869E-71F2B7273697}"/>
              </a:ext>
            </a:extLst>
          </p:cNvPr>
          <p:cNvGraphicFramePr/>
          <p:nvPr/>
        </p:nvGraphicFramePr>
        <p:xfrm>
          <a:off x="2388638" y="2057997"/>
          <a:ext cx="3171581" cy="1767409"/>
        </p:xfrm>
        <a:graphic>
          <a:graphicData uri="http://schemas.openxmlformats.org/drawingml/2006/chart">
            <c:chart xmlns:c="http://schemas.openxmlformats.org/drawingml/2006/chart" xmlns:r="http://schemas.openxmlformats.org/officeDocument/2006/relationships" r:id="rId4"/>
          </a:graphicData>
        </a:graphic>
      </p:graphicFrame>
      <p:sp>
        <p:nvSpPr>
          <p:cNvPr id="64" name="TextBox 63">
            <a:extLst>
              <a:ext uri="{FF2B5EF4-FFF2-40B4-BE49-F238E27FC236}">
                <a16:creationId xmlns:a16="http://schemas.microsoft.com/office/drawing/2014/main" id="{2FD5FAB8-AFAD-40BE-9BDA-CDE91E0887F6}"/>
              </a:ext>
            </a:extLst>
          </p:cNvPr>
          <p:cNvSpPr txBox="1"/>
          <p:nvPr/>
        </p:nvSpPr>
        <p:spPr>
          <a:xfrm>
            <a:off x="2388638" y="3476702"/>
            <a:ext cx="350520"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103</a:t>
            </a:r>
          </a:p>
        </p:txBody>
      </p:sp>
      <p:sp>
        <p:nvSpPr>
          <p:cNvPr id="65" name="TextBox 64">
            <a:extLst>
              <a:ext uri="{FF2B5EF4-FFF2-40B4-BE49-F238E27FC236}">
                <a16:creationId xmlns:a16="http://schemas.microsoft.com/office/drawing/2014/main" id="{89E47DDB-9F7C-4315-AE82-93E34A4A4518}"/>
              </a:ext>
            </a:extLst>
          </p:cNvPr>
          <p:cNvSpPr txBox="1"/>
          <p:nvPr/>
        </p:nvSpPr>
        <p:spPr>
          <a:xfrm>
            <a:off x="3325898" y="3476702"/>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33</a:t>
            </a:r>
          </a:p>
        </p:txBody>
      </p:sp>
      <p:sp>
        <p:nvSpPr>
          <p:cNvPr id="66" name="TextBox 65">
            <a:extLst>
              <a:ext uri="{FF2B5EF4-FFF2-40B4-BE49-F238E27FC236}">
                <a16:creationId xmlns:a16="http://schemas.microsoft.com/office/drawing/2014/main" id="{4675709F-1300-4E4F-BB5D-76AC222618F8}"/>
              </a:ext>
            </a:extLst>
          </p:cNvPr>
          <p:cNvSpPr txBox="1"/>
          <p:nvPr/>
        </p:nvSpPr>
        <p:spPr>
          <a:xfrm>
            <a:off x="4267798" y="3476702"/>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6</a:t>
            </a:r>
          </a:p>
        </p:txBody>
      </p:sp>
      <p:sp>
        <p:nvSpPr>
          <p:cNvPr id="67" name="TextBox 66">
            <a:extLst>
              <a:ext uri="{FF2B5EF4-FFF2-40B4-BE49-F238E27FC236}">
                <a16:creationId xmlns:a16="http://schemas.microsoft.com/office/drawing/2014/main" id="{AE85A954-BDD6-4604-8A10-0B32D7AB1156}"/>
              </a:ext>
            </a:extLst>
          </p:cNvPr>
          <p:cNvSpPr txBox="1"/>
          <p:nvPr/>
        </p:nvSpPr>
        <p:spPr>
          <a:xfrm>
            <a:off x="5209698" y="3476702"/>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1</a:t>
            </a:r>
          </a:p>
        </p:txBody>
      </p:sp>
      <p:sp>
        <p:nvSpPr>
          <p:cNvPr id="68" name="TextBox 67">
            <a:extLst>
              <a:ext uri="{FF2B5EF4-FFF2-40B4-BE49-F238E27FC236}">
                <a16:creationId xmlns:a16="http://schemas.microsoft.com/office/drawing/2014/main" id="{9AFA194C-5C73-4250-89E1-67B02BA52FDB}"/>
              </a:ext>
            </a:extLst>
          </p:cNvPr>
          <p:cNvSpPr txBox="1"/>
          <p:nvPr/>
        </p:nvSpPr>
        <p:spPr>
          <a:xfrm>
            <a:off x="2298790" y="3328053"/>
            <a:ext cx="87145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Arial" panose="020B0604020202020204"/>
                <a:ea typeface="+mn-ea"/>
                <a:cs typeface="+mn-cs"/>
              </a:rPr>
              <a:t>Number at risk</a:t>
            </a:r>
          </a:p>
        </p:txBody>
      </p:sp>
      <p:sp>
        <p:nvSpPr>
          <p:cNvPr id="69" name="TextBox 68">
            <a:extLst>
              <a:ext uri="{FF2B5EF4-FFF2-40B4-BE49-F238E27FC236}">
                <a16:creationId xmlns:a16="http://schemas.microsoft.com/office/drawing/2014/main" id="{3D578CB9-04B8-4023-9FDF-C0490609F0F3}"/>
              </a:ext>
            </a:extLst>
          </p:cNvPr>
          <p:cNvSpPr txBox="1"/>
          <p:nvPr/>
        </p:nvSpPr>
        <p:spPr>
          <a:xfrm>
            <a:off x="3571603" y="3200084"/>
            <a:ext cx="104671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Time (Months)</a:t>
            </a:r>
          </a:p>
        </p:txBody>
      </p:sp>
      <p:sp>
        <p:nvSpPr>
          <p:cNvPr id="70" name="TextBox 69">
            <a:extLst>
              <a:ext uri="{FF2B5EF4-FFF2-40B4-BE49-F238E27FC236}">
                <a16:creationId xmlns:a16="http://schemas.microsoft.com/office/drawing/2014/main" id="{E0B0981F-B960-4850-A6A3-198C310509E1}"/>
              </a:ext>
            </a:extLst>
          </p:cNvPr>
          <p:cNvSpPr txBox="1"/>
          <p:nvPr/>
        </p:nvSpPr>
        <p:spPr>
          <a:xfrm>
            <a:off x="3571603" y="3717684"/>
            <a:ext cx="107837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Time (Months)</a:t>
            </a:r>
          </a:p>
        </p:txBody>
      </p:sp>
      <p:sp>
        <p:nvSpPr>
          <p:cNvPr id="71" name="TextBox 70">
            <a:extLst>
              <a:ext uri="{FF2B5EF4-FFF2-40B4-BE49-F238E27FC236}">
                <a16:creationId xmlns:a16="http://schemas.microsoft.com/office/drawing/2014/main" id="{006E5B75-E51B-45E9-AED9-F94E2652440C}"/>
              </a:ext>
            </a:extLst>
          </p:cNvPr>
          <p:cNvSpPr txBox="1"/>
          <p:nvPr/>
        </p:nvSpPr>
        <p:spPr>
          <a:xfrm rot="16200000">
            <a:off x="1883692" y="2274795"/>
            <a:ext cx="50907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PFS</a:t>
            </a:r>
          </a:p>
        </p:txBody>
      </p:sp>
      <p:sp>
        <p:nvSpPr>
          <p:cNvPr id="72" name="TextBox 71">
            <a:extLst>
              <a:ext uri="{FF2B5EF4-FFF2-40B4-BE49-F238E27FC236}">
                <a16:creationId xmlns:a16="http://schemas.microsoft.com/office/drawing/2014/main" id="{82C762BB-35E7-44BB-A05A-1E21DD3406D4}"/>
              </a:ext>
            </a:extLst>
          </p:cNvPr>
          <p:cNvSpPr txBox="1"/>
          <p:nvPr/>
        </p:nvSpPr>
        <p:spPr>
          <a:xfrm rot="16200000">
            <a:off x="1883693" y="3533124"/>
            <a:ext cx="50907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PFS</a:t>
            </a:r>
          </a:p>
        </p:txBody>
      </p:sp>
      <p:sp>
        <p:nvSpPr>
          <p:cNvPr id="73" name="TextBox 72">
            <a:extLst>
              <a:ext uri="{FF2B5EF4-FFF2-40B4-BE49-F238E27FC236}">
                <a16:creationId xmlns:a16="http://schemas.microsoft.com/office/drawing/2014/main" id="{3D1C67C2-609B-4CAD-B0A0-B05300C25782}"/>
              </a:ext>
            </a:extLst>
          </p:cNvPr>
          <p:cNvSpPr txBox="1"/>
          <p:nvPr/>
        </p:nvSpPr>
        <p:spPr>
          <a:xfrm>
            <a:off x="2098699" y="3457370"/>
            <a:ext cx="50907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panose="020B0604020202020204"/>
                <a:ea typeface="+mn-ea"/>
                <a:cs typeface="+mn-cs"/>
              </a:rPr>
              <a:t>All</a:t>
            </a:r>
          </a:p>
        </p:txBody>
      </p:sp>
      <p:pic>
        <p:nvPicPr>
          <p:cNvPr id="74" name="Graphic 73">
            <a:extLst>
              <a:ext uri="{FF2B5EF4-FFF2-40B4-BE49-F238E27FC236}">
                <a16:creationId xmlns:a16="http://schemas.microsoft.com/office/drawing/2014/main" id="{70CAC5BC-425C-45DD-AA09-0557D84FDA70}"/>
              </a:ext>
            </a:extLst>
          </p:cNvPr>
          <p:cNvPicPr>
            <a:picLocks noChangeAspect="1"/>
          </p:cNvPicPr>
          <p:nvPr/>
        </p:nvPicPr>
        <p:blipFill>
          <a:blip r:embed="rId5">
            <a:duotone>
              <a:prstClr val="black"/>
              <a:schemeClr val="accent3">
                <a:tint val="45000"/>
                <a:satMod val="400000"/>
              </a:schemeClr>
            </a:duotone>
            <a:extLst>
              <a:ext uri="{96DAC541-7B7A-43D3-8B79-37D633B846F1}">
                <asvg:svgBlip xmlns:asvg="http://schemas.microsoft.com/office/drawing/2016/SVG/main" r:embed="rId6"/>
              </a:ext>
            </a:extLst>
          </a:blip>
          <a:stretch>
            <a:fillRect/>
          </a:stretch>
        </p:blipFill>
        <p:spPr>
          <a:xfrm>
            <a:off x="2475589" y="1701867"/>
            <a:ext cx="2992018" cy="1418824"/>
          </a:xfrm>
          <a:prstGeom prst="rect">
            <a:avLst/>
          </a:prstGeom>
        </p:spPr>
      </p:pic>
      <p:sp>
        <p:nvSpPr>
          <p:cNvPr id="75" name="Freeform: Shape 74">
            <a:extLst>
              <a:ext uri="{FF2B5EF4-FFF2-40B4-BE49-F238E27FC236}">
                <a16:creationId xmlns:a16="http://schemas.microsoft.com/office/drawing/2014/main" id="{6A8F5E82-5396-4646-97F9-53FADF1E3450}"/>
              </a:ext>
            </a:extLst>
          </p:cNvPr>
          <p:cNvSpPr/>
          <p:nvPr/>
        </p:nvSpPr>
        <p:spPr>
          <a:xfrm>
            <a:off x="2549147" y="2426818"/>
            <a:ext cx="784860" cy="697230"/>
          </a:xfrm>
          <a:custGeom>
            <a:avLst/>
            <a:gdLst>
              <a:gd name="connsiteX0" fmla="*/ 0 w 784860"/>
              <a:gd name="connsiteY0" fmla="*/ 0 h 697230"/>
              <a:gd name="connsiteX1" fmla="*/ 784860 w 784860"/>
              <a:gd name="connsiteY1" fmla="*/ 0 h 697230"/>
              <a:gd name="connsiteX2" fmla="*/ 784860 w 784860"/>
              <a:gd name="connsiteY2" fmla="*/ 697230 h 697230"/>
            </a:gdLst>
            <a:ahLst/>
            <a:cxnLst>
              <a:cxn ang="0">
                <a:pos x="connsiteX0" y="connsiteY0"/>
              </a:cxn>
              <a:cxn ang="0">
                <a:pos x="connsiteX1" y="connsiteY1"/>
              </a:cxn>
              <a:cxn ang="0">
                <a:pos x="connsiteX2" y="connsiteY2"/>
              </a:cxn>
            </a:cxnLst>
            <a:rect l="l" t="t" r="r" b="b"/>
            <a:pathLst>
              <a:path w="784860" h="697230">
                <a:moveTo>
                  <a:pt x="0" y="0"/>
                </a:moveTo>
                <a:lnTo>
                  <a:pt x="784860" y="0"/>
                </a:lnTo>
                <a:lnTo>
                  <a:pt x="784860" y="697230"/>
                </a:lnTo>
              </a:path>
            </a:pathLst>
          </a:cu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76" name="Chart 75">
            <a:extLst>
              <a:ext uri="{FF2B5EF4-FFF2-40B4-BE49-F238E27FC236}">
                <a16:creationId xmlns:a16="http://schemas.microsoft.com/office/drawing/2014/main" id="{2C8BB10A-95CB-465C-9B3B-044313DB12EB}"/>
              </a:ext>
            </a:extLst>
          </p:cNvPr>
          <p:cNvGraphicFramePr/>
          <p:nvPr/>
        </p:nvGraphicFramePr>
        <p:xfrm>
          <a:off x="6372446" y="1637793"/>
          <a:ext cx="3339221" cy="1767409"/>
        </p:xfrm>
        <a:graphic>
          <a:graphicData uri="http://schemas.openxmlformats.org/drawingml/2006/chart">
            <c:chart xmlns:c="http://schemas.openxmlformats.org/drawingml/2006/chart" xmlns:r="http://schemas.openxmlformats.org/officeDocument/2006/relationships" r:id="rId7"/>
          </a:graphicData>
        </a:graphic>
      </p:graphicFrame>
      <p:sp>
        <p:nvSpPr>
          <p:cNvPr id="77" name="TextBox 76">
            <a:extLst>
              <a:ext uri="{FF2B5EF4-FFF2-40B4-BE49-F238E27FC236}">
                <a16:creationId xmlns:a16="http://schemas.microsoft.com/office/drawing/2014/main" id="{BA786438-A13C-4F87-8A5C-D9CF38A0E76C}"/>
              </a:ext>
            </a:extLst>
          </p:cNvPr>
          <p:cNvSpPr txBox="1"/>
          <p:nvPr/>
        </p:nvSpPr>
        <p:spPr>
          <a:xfrm>
            <a:off x="7723051" y="3250932"/>
            <a:ext cx="104671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Time (Months)</a:t>
            </a:r>
          </a:p>
        </p:txBody>
      </p:sp>
      <p:sp>
        <p:nvSpPr>
          <p:cNvPr id="78" name="TextBox 77">
            <a:extLst>
              <a:ext uri="{FF2B5EF4-FFF2-40B4-BE49-F238E27FC236}">
                <a16:creationId xmlns:a16="http://schemas.microsoft.com/office/drawing/2014/main" id="{5B5F1603-35FB-46B7-89FD-ADC207DE5629}"/>
              </a:ext>
            </a:extLst>
          </p:cNvPr>
          <p:cNvSpPr txBox="1"/>
          <p:nvPr/>
        </p:nvSpPr>
        <p:spPr>
          <a:xfrm rot="16200000">
            <a:off x="6035140" y="2325643"/>
            <a:ext cx="50907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OS</a:t>
            </a:r>
          </a:p>
        </p:txBody>
      </p:sp>
      <p:sp>
        <p:nvSpPr>
          <p:cNvPr id="79" name="TextBox 78">
            <a:extLst>
              <a:ext uri="{FF2B5EF4-FFF2-40B4-BE49-F238E27FC236}">
                <a16:creationId xmlns:a16="http://schemas.microsoft.com/office/drawing/2014/main" id="{37BD0FF0-269D-4990-9119-F80F465EA9EB}"/>
              </a:ext>
            </a:extLst>
          </p:cNvPr>
          <p:cNvSpPr txBox="1"/>
          <p:nvPr/>
        </p:nvSpPr>
        <p:spPr>
          <a:xfrm rot="16200000">
            <a:off x="6035141" y="3583972"/>
            <a:ext cx="50907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OS</a:t>
            </a:r>
          </a:p>
        </p:txBody>
      </p:sp>
      <p:pic>
        <p:nvPicPr>
          <p:cNvPr id="80" name="Graphic 79">
            <a:extLst>
              <a:ext uri="{FF2B5EF4-FFF2-40B4-BE49-F238E27FC236}">
                <a16:creationId xmlns:a16="http://schemas.microsoft.com/office/drawing/2014/main" id="{E3D98188-4532-45D4-8A8D-784C170E4521}"/>
              </a:ext>
            </a:extLst>
          </p:cNvPr>
          <p:cNvPicPr>
            <a:picLocks noChangeAspect="1"/>
          </p:cNvPicPr>
          <p:nvPr/>
        </p:nvPicPr>
        <p:blipFill>
          <a:blip r:embed="rId8">
            <a:duotone>
              <a:prstClr val="black"/>
              <a:schemeClr val="accent3">
                <a:tint val="45000"/>
                <a:satMod val="400000"/>
              </a:schemeClr>
            </a:duotone>
            <a:extLst>
              <a:ext uri="{96DAC541-7B7A-43D3-8B79-37D633B846F1}">
                <asvg:svgBlip xmlns:asvg="http://schemas.microsoft.com/office/drawing/2016/SVG/main" r:embed="rId9"/>
              </a:ext>
            </a:extLst>
          </a:blip>
          <a:stretch>
            <a:fillRect/>
          </a:stretch>
        </p:blipFill>
        <p:spPr>
          <a:xfrm>
            <a:off x="6717189" y="1799486"/>
            <a:ext cx="2705720" cy="1356360"/>
          </a:xfrm>
          <a:prstGeom prst="rect">
            <a:avLst/>
          </a:prstGeom>
        </p:spPr>
      </p:pic>
      <p:grpSp>
        <p:nvGrpSpPr>
          <p:cNvPr id="81" name="Group 80">
            <a:extLst>
              <a:ext uri="{FF2B5EF4-FFF2-40B4-BE49-F238E27FC236}">
                <a16:creationId xmlns:a16="http://schemas.microsoft.com/office/drawing/2014/main" id="{50A72129-8E30-49C9-860A-6566C47A00BC}"/>
              </a:ext>
            </a:extLst>
          </p:cNvPr>
          <p:cNvGrpSpPr/>
          <p:nvPr/>
        </p:nvGrpSpPr>
        <p:grpSpPr>
          <a:xfrm>
            <a:off x="6515340" y="2108845"/>
            <a:ext cx="3261429" cy="1890519"/>
            <a:chOff x="6437076" y="5026442"/>
            <a:chExt cx="3261429" cy="1890519"/>
          </a:xfrm>
        </p:grpSpPr>
        <p:graphicFrame>
          <p:nvGraphicFramePr>
            <p:cNvPr id="82" name="Chart 81">
              <a:extLst>
                <a:ext uri="{FF2B5EF4-FFF2-40B4-BE49-F238E27FC236}">
                  <a16:creationId xmlns:a16="http://schemas.microsoft.com/office/drawing/2014/main" id="{469026FB-FE77-4283-98FD-E5768C2B0A96}"/>
                </a:ext>
              </a:extLst>
            </p:cNvPr>
            <p:cNvGraphicFramePr/>
            <p:nvPr/>
          </p:nvGraphicFramePr>
          <p:xfrm>
            <a:off x="6526924" y="5026442"/>
            <a:ext cx="3171581" cy="1767409"/>
          </p:xfrm>
          <a:graphic>
            <a:graphicData uri="http://schemas.openxmlformats.org/drawingml/2006/chart">
              <c:chart xmlns:c="http://schemas.openxmlformats.org/drawingml/2006/chart" xmlns:r="http://schemas.openxmlformats.org/officeDocument/2006/relationships" r:id="rId10"/>
            </a:graphicData>
          </a:graphic>
        </p:graphicFrame>
        <p:sp>
          <p:nvSpPr>
            <p:cNvPr id="83" name="TextBox 82">
              <a:extLst>
                <a:ext uri="{FF2B5EF4-FFF2-40B4-BE49-F238E27FC236}">
                  <a16:creationId xmlns:a16="http://schemas.microsoft.com/office/drawing/2014/main" id="{71CB28CD-A7F0-471C-ADB2-74134F90B724}"/>
                </a:ext>
              </a:extLst>
            </p:cNvPr>
            <p:cNvSpPr txBox="1"/>
            <p:nvPr/>
          </p:nvSpPr>
          <p:spPr>
            <a:xfrm>
              <a:off x="6526924" y="6445147"/>
              <a:ext cx="350520"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103</a:t>
              </a:r>
            </a:p>
          </p:txBody>
        </p:sp>
        <p:sp>
          <p:nvSpPr>
            <p:cNvPr id="84" name="TextBox 83">
              <a:extLst>
                <a:ext uri="{FF2B5EF4-FFF2-40B4-BE49-F238E27FC236}">
                  <a16:creationId xmlns:a16="http://schemas.microsoft.com/office/drawing/2014/main" id="{95BD891E-83F7-4CC9-8521-BEE92DBEE3ED}"/>
                </a:ext>
              </a:extLst>
            </p:cNvPr>
            <p:cNvSpPr txBox="1"/>
            <p:nvPr/>
          </p:nvSpPr>
          <p:spPr>
            <a:xfrm>
              <a:off x="7223119" y="6445147"/>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67</a:t>
              </a:r>
            </a:p>
          </p:txBody>
        </p:sp>
        <p:sp>
          <p:nvSpPr>
            <p:cNvPr id="85" name="TextBox 84">
              <a:extLst>
                <a:ext uri="{FF2B5EF4-FFF2-40B4-BE49-F238E27FC236}">
                  <a16:creationId xmlns:a16="http://schemas.microsoft.com/office/drawing/2014/main" id="{00CE55D6-0742-4590-8DC0-48110A3CEA81}"/>
                </a:ext>
              </a:extLst>
            </p:cNvPr>
            <p:cNvSpPr txBox="1"/>
            <p:nvPr/>
          </p:nvSpPr>
          <p:spPr>
            <a:xfrm>
              <a:off x="7932717" y="6445147"/>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19</a:t>
              </a:r>
            </a:p>
          </p:txBody>
        </p:sp>
        <p:sp>
          <p:nvSpPr>
            <p:cNvPr id="86" name="TextBox 85">
              <a:extLst>
                <a:ext uri="{FF2B5EF4-FFF2-40B4-BE49-F238E27FC236}">
                  <a16:creationId xmlns:a16="http://schemas.microsoft.com/office/drawing/2014/main" id="{449759F7-B49C-4831-BFC7-9247F485867D}"/>
                </a:ext>
              </a:extLst>
            </p:cNvPr>
            <p:cNvSpPr txBox="1"/>
            <p:nvPr/>
          </p:nvSpPr>
          <p:spPr>
            <a:xfrm>
              <a:off x="8629560" y="6445147"/>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3</a:t>
              </a:r>
            </a:p>
          </p:txBody>
        </p:sp>
        <p:sp>
          <p:nvSpPr>
            <p:cNvPr id="87" name="TextBox 86">
              <a:extLst>
                <a:ext uri="{FF2B5EF4-FFF2-40B4-BE49-F238E27FC236}">
                  <a16:creationId xmlns:a16="http://schemas.microsoft.com/office/drawing/2014/main" id="{A2194CF8-74A6-4626-8F3B-D0635137F3BD}"/>
                </a:ext>
              </a:extLst>
            </p:cNvPr>
            <p:cNvSpPr txBox="1"/>
            <p:nvPr/>
          </p:nvSpPr>
          <p:spPr>
            <a:xfrm>
              <a:off x="6437076" y="6296498"/>
              <a:ext cx="87145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Arial" panose="020B0604020202020204"/>
                  <a:ea typeface="+mn-ea"/>
                  <a:cs typeface="+mn-cs"/>
                </a:rPr>
                <a:t>Number at risk</a:t>
              </a:r>
            </a:p>
          </p:txBody>
        </p:sp>
        <p:sp>
          <p:nvSpPr>
            <p:cNvPr id="88" name="TextBox 87">
              <a:extLst>
                <a:ext uri="{FF2B5EF4-FFF2-40B4-BE49-F238E27FC236}">
                  <a16:creationId xmlns:a16="http://schemas.microsoft.com/office/drawing/2014/main" id="{2741AB91-D599-427C-8761-68977AD27D34}"/>
                </a:ext>
              </a:extLst>
            </p:cNvPr>
            <p:cNvSpPr txBox="1"/>
            <p:nvPr/>
          </p:nvSpPr>
          <p:spPr>
            <a:xfrm>
              <a:off x="7709889" y="6686129"/>
              <a:ext cx="107837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Time (Months)</a:t>
              </a:r>
            </a:p>
          </p:txBody>
        </p:sp>
        <p:sp>
          <p:nvSpPr>
            <p:cNvPr id="89" name="TextBox 88">
              <a:extLst>
                <a:ext uri="{FF2B5EF4-FFF2-40B4-BE49-F238E27FC236}">
                  <a16:creationId xmlns:a16="http://schemas.microsoft.com/office/drawing/2014/main" id="{BC6A87BF-B6A7-4122-BFCC-EE79647B82D5}"/>
                </a:ext>
              </a:extLst>
            </p:cNvPr>
            <p:cNvSpPr txBox="1"/>
            <p:nvPr/>
          </p:nvSpPr>
          <p:spPr>
            <a:xfrm>
              <a:off x="9344644" y="6445147"/>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0</a:t>
              </a:r>
            </a:p>
          </p:txBody>
        </p:sp>
      </p:grpSp>
      <p:sp>
        <p:nvSpPr>
          <p:cNvPr id="90" name="Freeform: Shape 89">
            <a:extLst>
              <a:ext uri="{FF2B5EF4-FFF2-40B4-BE49-F238E27FC236}">
                <a16:creationId xmlns:a16="http://schemas.microsoft.com/office/drawing/2014/main" id="{CB8D93F3-F32A-4C5B-A278-3B7636912FC8}"/>
              </a:ext>
            </a:extLst>
          </p:cNvPr>
          <p:cNvSpPr/>
          <p:nvPr/>
        </p:nvSpPr>
        <p:spPr>
          <a:xfrm>
            <a:off x="6730524" y="2481476"/>
            <a:ext cx="1283970" cy="674370"/>
          </a:xfrm>
          <a:custGeom>
            <a:avLst/>
            <a:gdLst>
              <a:gd name="connsiteX0" fmla="*/ 0 w 1283970"/>
              <a:gd name="connsiteY0" fmla="*/ 0 h 674370"/>
              <a:gd name="connsiteX1" fmla="*/ 1283970 w 1283970"/>
              <a:gd name="connsiteY1" fmla="*/ 0 h 674370"/>
              <a:gd name="connsiteX2" fmla="*/ 1283970 w 1283970"/>
              <a:gd name="connsiteY2" fmla="*/ 674370 h 674370"/>
            </a:gdLst>
            <a:ahLst/>
            <a:cxnLst>
              <a:cxn ang="0">
                <a:pos x="connsiteX0" y="connsiteY0"/>
              </a:cxn>
              <a:cxn ang="0">
                <a:pos x="connsiteX1" y="connsiteY1"/>
              </a:cxn>
              <a:cxn ang="0">
                <a:pos x="connsiteX2" y="connsiteY2"/>
              </a:cxn>
            </a:cxnLst>
            <a:rect l="l" t="t" r="r" b="b"/>
            <a:pathLst>
              <a:path w="1283970" h="674370">
                <a:moveTo>
                  <a:pt x="0" y="0"/>
                </a:moveTo>
                <a:lnTo>
                  <a:pt x="1283970" y="0"/>
                </a:lnTo>
                <a:lnTo>
                  <a:pt x="1283970" y="674370"/>
                </a:lnTo>
              </a:path>
            </a:pathLst>
          </a:cu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1" name="TextBox 90">
            <a:extLst>
              <a:ext uri="{FF2B5EF4-FFF2-40B4-BE49-F238E27FC236}">
                <a16:creationId xmlns:a16="http://schemas.microsoft.com/office/drawing/2014/main" id="{5879A419-61A2-47C1-9767-19553396FC6F}"/>
              </a:ext>
            </a:extLst>
          </p:cNvPr>
          <p:cNvSpPr txBox="1"/>
          <p:nvPr/>
        </p:nvSpPr>
        <p:spPr>
          <a:xfrm>
            <a:off x="6301993" y="3514669"/>
            <a:ext cx="50907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Arial" panose="020B0604020202020204"/>
                <a:ea typeface="+mn-ea"/>
                <a:cs typeface="+mn-cs"/>
              </a:rPr>
              <a:t>All</a:t>
            </a:r>
          </a:p>
        </p:txBody>
      </p:sp>
      <p:sp>
        <p:nvSpPr>
          <p:cNvPr id="92" name="TextBox 91">
            <a:extLst>
              <a:ext uri="{FF2B5EF4-FFF2-40B4-BE49-F238E27FC236}">
                <a16:creationId xmlns:a16="http://schemas.microsoft.com/office/drawing/2014/main" id="{34498ED1-6B62-4309-A309-2102F2DD4CCF}"/>
              </a:ext>
            </a:extLst>
          </p:cNvPr>
          <p:cNvSpPr txBox="1"/>
          <p:nvPr/>
        </p:nvSpPr>
        <p:spPr>
          <a:xfrm>
            <a:off x="1435821" y="1528382"/>
            <a:ext cx="123385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rPr>
              <a:t>(A)</a:t>
            </a:r>
            <a:endParaRPr kumimoji="0" lang="en-US" sz="40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endParaRPr>
          </a:p>
        </p:txBody>
      </p:sp>
      <p:sp>
        <p:nvSpPr>
          <p:cNvPr id="93" name="TextBox 92">
            <a:extLst>
              <a:ext uri="{FF2B5EF4-FFF2-40B4-BE49-F238E27FC236}">
                <a16:creationId xmlns:a16="http://schemas.microsoft.com/office/drawing/2014/main" id="{1DACF0B6-9795-40AF-AC2B-CA3DEED687C4}"/>
              </a:ext>
            </a:extLst>
          </p:cNvPr>
          <p:cNvSpPr txBox="1"/>
          <p:nvPr/>
        </p:nvSpPr>
        <p:spPr>
          <a:xfrm>
            <a:off x="5819555" y="1572178"/>
            <a:ext cx="123385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rPr>
              <a:t>(B)</a:t>
            </a:r>
            <a:endParaRPr kumimoji="0" lang="en-US" sz="40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endParaRPr>
          </a:p>
        </p:txBody>
      </p:sp>
      <p:graphicFrame>
        <p:nvGraphicFramePr>
          <p:cNvPr id="94" name="Table 4">
            <a:extLst>
              <a:ext uri="{FF2B5EF4-FFF2-40B4-BE49-F238E27FC236}">
                <a16:creationId xmlns:a16="http://schemas.microsoft.com/office/drawing/2014/main" id="{8B912858-371C-4C14-8777-40599579FF47}"/>
              </a:ext>
            </a:extLst>
          </p:cNvPr>
          <p:cNvGraphicFramePr>
            <a:graphicFrameLocks noGrp="1"/>
          </p:cNvGraphicFramePr>
          <p:nvPr>
            <p:ph idx="1"/>
            <p:extLst>
              <p:ext uri="{D42A27DB-BD31-4B8C-83A1-F6EECF244321}">
                <p14:modId xmlns:p14="http://schemas.microsoft.com/office/powerpoint/2010/main" val="4029028528"/>
              </p:ext>
            </p:extLst>
          </p:nvPr>
        </p:nvGraphicFramePr>
        <p:xfrm>
          <a:off x="3078151" y="4467984"/>
          <a:ext cx="5742503" cy="1573196"/>
        </p:xfrm>
        <a:graphic>
          <a:graphicData uri="http://schemas.openxmlformats.org/drawingml/2006/table">
            <a:tbl>
              <a:tblPr firstRow="1" bandRow="1">
                <a:tableStyleId>{5C22544A-7EE6-4342-B048-85BDC9FD1C3A}</a:tableStyleId>
              </a:tblPr>
              <a:tblGrid>
                <a:gridCol w="3076318">
                  <a:extLst>
                    <a:ext uri="{9D8B030D-6E8A-4147-A177-3AD203B41FA5}">
                      <a16:colId xmlns:a16="http://schemas.microsoft.com/office/drawing/2014/main" val="1548546927"/>
                    </a:ext>
                  </a:extLst>
                </a:gridCol>
                <a:gridCol w="1198432">
                  <a:extLst>
                    <a:ext uri="{9D8B030D-6E8A-4147-A177-3AD203B41FA5}">
                      <a16:colId xmlns:a16="http://schemas.microsoft.com/office/drawing/2014/main" val="2789161514"/>
                    </a:ext>
                  </a:extLst>
                </a:gridCol>
                <a:gridCol w="1467753">
                  <a:extLst>
                    <a:ext uri="{9D8B030D-6E8A-4147-A177-3AD203B41FA5}">
                      <a16:colId xmlns:a16="http://schemas.microsoft.com/office/drawing/2014/main" val="4077616650"/>
                    </a:ext>
                  </a:extLst>
                </a:gridCol>
              </a:tblGrid>
              <a:tr h="349476">
                <a:tc>
                  <a:txBody>
                    <a:bodyPr/>
                    <a:lstStyle/>
                    <a:p>
                      <a:endParaRPr lang="en-US" sz="1000">
                        <a:latin typeface="Trebuchet MS" panose="020B0603020202020204" pitchFamily="34" charset="0"/>
                      </a:endParaRPr>
                    </a:p>
                  </a:txBody>
                  <a:tcPr marT="0" marB="0" anchor="ctr"/>
                </a:tc>
                <a:tc>
                  <a:txBody>
                    <a:bodyPr/>
                    <a:lstStyle/>
                    <a:p>
                      <a:r>
                        <a:rPr lang="en-US" sz="1000">
                          <a:latin typeface="Trebuchet MS" panose="020B0603020202020204" pitchFamily="34" charset="0"/>
                        </a:rPr>
                        <a:t>All patients (n=103)</a:t>
                      </a:r>
                    </a:p>
                  </a:txBody>
                  <a:tcPr marT="0" marB="0" anchor="ctr"/>
                </a:tc>
                <a:tc>
                  <a:txBody>
                    <a:bodyPr/>
                    <a:lstStyle/>
                    <a:p>
                      <a:r>
                        <a:rPr lang="en-US" sz="1000">
                          <a:latin typeface="Trebuchet MS" panose="020B0603020202020204" pitchFamily="34" charset="0"/>
                        </a:rPr>
                        <a:t>Brain metastases cohort (n=32)</a:t>
                      </a:r>
                    </a:p>
                  </a:txBody>
                  <a:tcPr marT="0" marB="0" anchor="ctr"/>
                </a:tc>
                <a:extLst>
                  <a:ext uri="{0D108BD9-81ED-4DB2-BD59-A6C34878D82A}">
                    <a16:rowId xmlns:a16="http://schemas.microsoft.com/office/drawing/2014/main" val="3951401061"/>
                  </a:ext>
                </a:extLst>
              </a:tr>
              <a:tr h="195468">
                <a:tc>
                  <a:txBody>
                    <a:bodyPr/>
                    <a:lstStyle/>
                    <a:p>
                      <a:r>
                        <a:rPr lang="en-US" sz="1000" b="1">
                          <a:latin typeface="Trebuchet MS" panose="020B0603020202020204" pitchFamily="34" charset="0"/>
                        </a:rPr>
                        <a:t>Median PFS, </a:t>
                      </a:r>
                      <a:r>
                        <a:rPr lang="en-US" sz="1000" b="1" err="1">
                          <a:latin typeface="Trebuchet MS" panose="020B0603020202020204" pitchFamily="34" charset="0"/>
                        </a:rPr>
                        <a:t>mo</a:t>
                      </a:r>
                      <a:r>
                        <a:rPr lang="en-US" sz="1000" b="1">
                          <a:latin typeface="Trebuchet MS" panose="020B0603020202020204" pitchFamily="34" charset="0"/>
                        </a:rPr>
                        <a:t> (95%CI)</a:t>
                      </a:r>
                    </a:p>
                  </a:txBody>
                  <a:tcPr marT="0" marB="0" anchor="ctr"/>
                </a:tc>
                <a:tc>
                  <a:txBody>
                    <a:bodyPr/>
                    <a:lstStyle/>
                    <a:p>
                      <a:r>
                        <a:rPr lang="en-US" sz="1000" b="1">
                          <a:latin typeface="Trebuchet MS" panose="020B0603020202020204" pitchFamily="34" charset="0"/>
                        </a:rPr>
                        <a:t>4.0 (3.5-5.3)</a:t>
                      </a:r>
                    </a:p>
                  </a:txBody>
                  <a:tcPr marT="0" marB="0" anchor="ctr"/>
                </a:tc>
                <a:tc>
                  <a:txBody>
                    <a:bodyPr/>
                    <a:lstStyle/>
                    <a:p>
                      <a:r>
                        <a:rPr lang="en-US" sz="1000" b="1">
                          <a:latin typeface="Trebuchet MS" panose="020B0603020202020204" pitchFamily="34" charset="0"/>
                        </a:rPr>
                        <a:t>3.7 (2.6-6.2)</a:t>
                      </a:r>
                    </a:p>
                  </a:txBody>
                  <a:tcPr marT="0" marB="0" anchor="ctr"/>
                </a:tc>
                <a:extLst>
                  <a:ext uri="{0D108BD9-81ED-4DB2-BD59-A6C34878D82A}">
                    <a16:rowId xmlns:a16="http://schemas.microsoft.com/office/drawing/2014/main" val="2076730933"/>
                  </a:ext>
                </a:extLst>
              </a:tr>
              <a:tr h="195468">
                <a:tc>
                  <a:txBody>
                    <a:bodyPr/>
                    <a:lstStyle/>
                    <a:p>
                      <a:pPr marL="0" lvl="1"/>
                      <a:r>
                        <a:rPr lang="en-US" sz="1000" b="1">
                          <a:latin typeface="Trebuchet MS" panose="020B0603020202020204" pitchFamily="34" charset="0"/>
                        </a:rPr>
                        <a:t>Median OS, </a:t>
                      </a:r>
                      <a:r>
                        <a:rPr lang="en-US" sz="1000" b="1" err="1">
                          <a:latin typeface="Trebuchet MS" panose="020B0603020202020204" pitchFamily="34" charset="0"/>
                        </a:rPr>
                        <a:t>mo</a:t>
                      </a:r>
                      <a:r>
                        <a:rPr lang="en-US" sz="1000" b="1">
                          <a:latin typeface="Trebuchet MS" panose="020B0603020202020204" pitchFamily="34" charset="0"/>
                        </a:rPr>
                        <a:t> (95%CI)</a:t>
                      </a:r>
                    </a:p>
                  </a:txBody>
                  <a:tcPr marT="0" marB="0" anchor="ctr"/>
                </a:tc>
                <a:tc>
                  <a:txBody>
                    <a:bodyPr/>
                    <a:lstStyle/>
                    <a:p>
                      <a:pPr marL="0" lvl="1"/>
                      <a:r>
                        <a:rPr lang="en-US" sz="1000" b="1">
                          <a:latin typeface="Trebuchet MS" panose="020B0603020202020204" pitchFamily="34" charset="0"/>
                        </a:rPr>
                        <a:t>9.2 (7.2-NR)</a:t>
                      </a:r>
                    </a:p>
                  </a:txBody>
                  <a:tcPr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1">
                          <a:latin typeface="Trebuchet MS" panose="020B0603020202020204" pitchFamily="34" charset="0"/>
                        </a:rPr>
                        <a:t>6.7 (56.3-NR)</a:t>
                      </a:r>
                    </a:p>
                  </a:txBody>
                  <a:tcPr marT="0" marB="0" anchor="ctr"/>
                </a:tc>
                <a:extLst>
                  <a:ext uri="{0D108BD9-81ED-4DB2-BD59-A6C34878D82A}">
                    <a16:rowId xmlns:a16="http://schemas.microsoft.com/office/drawing/2014/main" val="3743589647"/>
                  </a:ext>
                </a:extLst>
              </a:tr>
              <a:tr h="246380">
                <a:tc>
                  <a:txBody>
                    <a:bodyPr/>
                    <a:lstStyle/>
                    <a:p>
                      <a:pPr marL="0" lvl="0"/>
                      <a:r>
                        <a:rPr lang="en-US" sz="1000" b="0">
                          <a:latin typeface="Trebuchet MS" panose="020B0603020202020204" pitchFamily="34" charset="0"/>
                        </a:rPr>
                        <a:t>Median duration of SG exposure, </a:t>
                      </a:r>
                      <a:r>
                        <a:rPr lang="en-US" sz="1000" b="0" err="1">
                          <a:latin typeface="Trebuchet MS" panose="020B0603020202020204" pitchFamily="34" charset="0"/>
                        </a:rPr>
                        <a:t>mo</a:t>
                      </a:r>
                      <a:r>
                        <a:rPr lang="en-US" sz="1000" b="0">
                          <a:latin typeface="Trebuchet MS" panose="020B0603020202020204" pitchFamily="34" charset="0"/>
                        </a:rPr>
                        <a:t> (range)</a:t>
                      </a:r>
                    </a:p>
                  </a:txBody>
                  <a:tcPr marT="0" marB="0" anchor="ctr"/>
                </a:tc>
                <a:tc>
                  <a:txBody>
                    <a:bodyPr/>
                    <a:lstStyle/>
                    <a:p>
                      <a:pPr lvl="0"/>
                      <a:r>
                        <a:rPr lang="fr-FR" sz="1000" b="0">
                          <a:latin typeface="Trebuchet MS" panose="020B0603020202020204" pitchFamily="34" charset="0"/>
                        </a:rPr>
                        <a:t>3.4 (0.3-15.4)</a:t>
                      </a:r>
                    </a:p>
                  </a:txBody>
                  <a:tcPr marT="0" marB="0" anchor="ctr"/>
                </a:tc>
                <a:tc>
                  <a:txBody>
                    <a:bodyPr/>
                    <a:lstStyle/>
                    <a:p>
                      <a:pPr lvl="0"/>
                      <a:r>
                        <a:rPr lang="fr-FR" sz="1000" b="0">
                          <a:latin typeface="Trebuchet MS" panose="020B0603020202020204" pitchFamily="34" charset="0"/>
                        </a:rPr>
                        <a:t>3.1(0.3-9.5)</a:t>
                      </a:r>
                    </a:p>
                  </a:txBody>
                  <a:tcPr marT="0" marB="0" anchor="ctr"/>
                </a:tc>
                <a:extLst>
                  <a:ext uri="{0D108BD9-81ED-4DB2-BD59-A6C34878D82A}">
                    <a16:rowId xmlns:a16="http://schemas.microsoft.com/office/drawing/2014/main" val="3289124124"/>
                  </a:ext>
                </a:extLst>
              </a:tr>
              <a:tr h="19546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1">
                          <a:latin typeface="Trebuchet MS" panose="020B0603020202020204" pitchFamily="34" charset="0"/>
                        </a:rPr>
                        <a:t>ORR, n (%)</a:t>
                      </a:r>
                    </a:p>
                  </a:txBody>
                  <a:tcPr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1">
                          <a:latin typeface="Trebuchet MS" panose="020B0603020202020204" pitchFamily="34" charset="0"/>
                        </a:rPr>
                        <a:t>31 (30.1%)</a:t>
                      </a:r>
                    </a:p>
                  </a:txBody>
                  <a:tcPr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1">
                          <a:latin typeface="Trebuchet MS" panose="020B0603020202020204" pitchFamily="34" charset="0"/>
                        </a:rPr>
                        <a:t>6(19.8%)</a:t>
                      </a:r>
                    </a:p>
                  </a:txBody>
                  <a:tcPr marT="0" marB="0" anchor="ctr"/>
                </a:tc>
                <a:extLst>
                  <a:ext uri="{0D108BD9-81ED-4DB2-BD59-A6C34878D82A}">
                    <a16:rowId xmlns:a16="http://schemas.microsoft.com/office/drawing/2014/main" val="2224747660"/>
                  </a:ext>
                </a:extLst>
              </a:tr>
              <a:tr h="19546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0">
                          <a:latin typeface="Trebuchet MS" panose="020B0603020202020204" pitchFamily="34" charset="0"/>
                        </a:rPr>
                        <a:t>Complete response</a:t>
                      </a:r>
                    </a:p>
                  </a:txBody>
                  <a:tcPr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0">
                          <a:latin typeface="Trebuchet MS" panose="020B0603020202020204" pitchFamily="34" charset="0"/>
                        </a:rPr>
                        <a:t>2 (1.9%)</a:t>
                      </a:r>
                    </a:p>
                  </a:txBody>
                  <a:tcPr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0">
                          <a:latin typeface="Trebuchet MS" panose="020B0603020202020204" pitchFamily="34" charset="0"/>
                        </a:rPr>
                        <a:t>0 (0%)</a:t>
                      </a:r>
                    </a:p>
                  </a:txBody>
                  <a:tcPr marT="0" marB="0" anchor="ctr"/>
                </a:tc>
                <a:extLst>
                  <a:ext uri="{0D108BD9-81ED-4DB2-BD59-A6C34878D82A}">
                    <a16:rowId xmlns:a16="http://schemas.microsoft.com/office/drawing/2014/main" val="2946782246"/>
                  </a:ext>
                </a:extLst>
              </a:tr>
              <a:tr h="19546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0">
                          <a:latin typeface="Trebuchet MS" panose="020B0603020202020204" pitchFamily="34" charset="0"/>
                        </a:rPr>
                        <a:t>Partial response</a:t>
                      </a:r>
                    </a:p>
                  </a:txBody>
                  <a:tcPr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0">
                          <a:latin typeface="Trebuchet MS" panose="020B0603020202020204" pitchFamily="34" charset="0"/>
                        </a:rPr>
                        <a:t>29 (28.2%)</a:t>
                      </a:r>
                    </a:p>
                  </a:txBody>
                  <a:tcPr marT="0" marB="0"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b="0">
                          <a:latin typeface="Trebuchet MS" panose="020B0603020202020204" pitchFamily="34" charset="0"/>
                        </a:rPr>
                        <a:t>6 (19.8%)</a:t>
                      </a:r>
                    </a:p>
                  </a:txBody>
                  <a:tcPr marT="0" marB="0" anchor="ctr"/>
                </a:tc>
                <a:extLst>
                  <a:ext uri="{0D108BD9-81ED-4DB2-BD59-A6C34878D82A}">
                    <a16:rowId xmlns:a16="http://schemas.microsoft.com/office/drawing/2014/main" val="4166443564"/>
                  </a:ext>
                </a:extLst>
              </a:tr>
            </a:tbl>
          </a:graphicData>
        </a:graphic>
      </p:graphicFrame>
    </p:spTree>
    <p:extLst>
      <p:ext uri="{BB962C8B-B14F-4D97-AF65-F5344CB8AC3E}">
        <p14:creationId xmlns:p14="http://schemas.microsoft.com/office/powerpoint/2010/main" val="727650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CC565F1-6ECA-4A54-89D2-F4F21842C4A0}"/>
              </a:ext>
            </a:extLst>
          </p:cNvPr>
          <p:cNvSpPr>
            <a:spLocks noGrp="1"/>
          </p:cNvSpPr>
          <p:nvPr>
            <p:ph type="title"/>
          </p:nvPr>
        </p:nvSpPr>
        <p:spPr/>
        <p:txBody>
          <a:bodyPr/>
          <a:lstStyle/>
          <a:p>
            <a:r>
              <a:rPr lang="en-US">
                <a:solidFill>
                  <a:srgbClr val="203661"/>
                </a:solidFill>
                <a:latin typeface="Trebuchet MS" panose="020B0603020202020204" pitchFamily="34" charset="0"/>
                <a:ea typeface="+mj-ea"/>
              </a:rPr>
              <a:t>Results: PFS and OS</a:t>
            </a:r>
            <a:r>
              <a:rPr lang="en-US" baseline="30000">
                <a:solidFill>
                  <a:srgbClr val="203661"/>
                </a:solidFill>
                <a:latin typeface="Trebuchet MS" panose="020B0603020202020204" pitchFamily="34" charset="0"/>
                <a:ea typeface="+mj-ea"/>
              </a:rPr>
              <a:t>1</a:t>
            </a:r>
            <a:br>
              <a:rPr lang="en-US" sz="2400"/>
            </a:br>
            <a:br>
              <a:rPr lang="en-US" sz="2400"/>
            </a:br>
            <a:br>
              <a:rPr lang="en-CH"/>
            </a:br>
            <a:endParaRPr lang="en-IN" baseline="30000"/>
          </a:p>
        </p:txBody>
      </p:sp>
      <p:sp>
        <p:nvSpPr>
          <p:cNvPr id="12" name="Text Placeholder 11">
            <a:extLst>
              <a:ext uri="{FF2B5EF4-FFF2-40B4-BE49-F238E27FC236}">
                <a16:creationId xmlns:a16="http://schemas.microsoft.com/office/drawing/2014/main" id="{DE2F887C-C2AE-4BCB-9230-50E7EAC81F38}"/>
              </a:ext>
            </a:extLst>
          </p:cNvPr>
          <p:cNvSpPr>
            <a:spLocks noGrp="1"/>
          </p:cNvSpPr>
          <p:nvPr>
            <p:ph type="body" sz="quarter" idx="13"/>
          </p:nvPr>
        </p:nvSpPr>
        <p:spPr>
          <a:xfrm>
            <a:off x="568793" y="5964198"/>
            <a:ext cx="9478456" cy="704449"/>
          </a:xfrm>
        </p:spPr>
        <p:txBody>
          <a:bodyPr/>
          <a:lstStyle/>
          <a:p>
            <a:pPr>
              <a:spcAft>
                <a:spcPts val="0"/>
              </a:spcAft>
            </a:pPr>
            <a:r>
              <a:rPr lang="en-US" sz="700" kern="1200">
                <a:latin typeface="Trebuchet MS" panose="020B0603020202020204" pitchFamily="34" charset="0"/>
                <a:ea typeface="Helvetica" charset="0"/>
                <a:cs typeface="Helvetica"/>
              </a:rPr>
              <a:t>BRCA, </a:t>
            </a:r>
            <a:r>
              <a:rPr lang="en-US" sz="700" kern="1200" err="1">
                <a:latin typeface="Trebuchet MS" panose="020B0603020202020204" pitchFamily="34" charset="0"/>
                <a:ea typeface="Helvetica" charset="0"/>
                <a:cs typeface="Helvetica"/>
              </a:rPr>
              <a:t>BReast</a:t>
            </a:r>
            <a:r>
              <a:rPr lang="en-US" sz="700" kern="1200">
                <a:latin typeface="Trebuchet MS" panose="020B0603020202020204" pitchFamily="34" charset="0"/>
                <a:ea typeface="Helvetica" charset="0"/>
                <a:cs typeface="Helvetica"/>
              </a:rPr>
              <a:t> </a:t>
            </a:r>
            <a:r>
              <a:rPr lang="en-US" sz="700" kern="1200" err="1">
                <a:latin typeface="Trebuchet MS" panose="020B0603020202020204" pitchFamily="34" charset="0"/>
                <a:ea typeface="Helvetica" charset="0"/>
                <a:cs typeface="Helvetica"/>
              </a:rPr>
              <a:t>CAncer</a:t>
            </a:r>
            <a:r>
              <a:rPr lang="en-US" sz="700" kern="1200">
                <a:latin typeface="Trebuchet MS" panose="020B0603020202020204" pitchFamily="34" charset="0"/>
                <a:ea typeface="Helvetica" charset="0"/>
                <a:cs typeface="Helvetica"/>
              </a:rPr>
              <a:t> gene; CNS, central nervous system; OS, overall survival; PFS, progression free survival. </a:t>
            </a:r>
          </a:p>
          <a:p>
            <a:pPr>
              <a:spcAft>
                <a:spcPts val="0"/>
              </a:spcAft>
            </a:pPr>
            <a:r>
              <a:rPr lang="en-US" sz="700" kern="1200">
                <a:latin typeface="Trebuchet MS" panose="020B0603020202020204" pitchFamily="34" charset="0"/>
                <a:ea typeface="Helvetica" charset="0"/>
                <a:cs typeface="Helvetica"/>
              </a:rPr>
              <a:t>1. </a:t>
            </a:r>
            <a:r>
              <a:rPr lang="en-US" sz="700" kern="1200" err="1">
                <a:latin typeface="Trebuchet MS" panose="020B0603020202020204" pitchFamily="34" charset="0"/>
                <a:ea typeface="Helvetica" charset="0"/>
                <a:cs typeface="Helvetica"/>
              </a:rPr>
              <a:t>Loirat</a:t>
            </a:r>
            <a:r>
              <a:rPr lang="en-US" sz="700" kern="1200">
                <a:latin typeface="Trebuchet MS" panose="020B0603020202020204" pitchFamily="34" charset="0"/>
                <a:ea typeface="Helvetica" charset="0"/>
                <a:cs typeface="Helvetica"/>
              </a:rPr>
              <a:t> D, et al. Poster presented at: ESMO Breast Cancer 2023; May 11-13, 2023; Berlin, Germany. Abstract #216P</a:t>
            </a:r>
          </a:p>
        </p:txBody>
      </p:sp>
      <p:sp>
        <p:nvSpPr>
          <p:cNvPr id="57" name="TextBox 56">
            <a:extLst>
              <a:ext uri="{FF2B5EF4-FFF2-40B4-BE49-F238E27FC236}">
                <a16:creationId xmlns:a16="http://schemas.microsoft.com/office/drawing/2014/main" id="{CE9C7429-3681-4690-AA42-94B8FEC940A9}"/>
              </a:ext>
            </a:extLst>
          </p:cNvPr>
          <p:cNvSpPr txBox="1"/>
          <p:nvPr/>
        </p:nvSpPr>
        <p:spPr>
          <a:xfrm>
            <a:off x="561333" y="743377"/>
            <a:ext cx="10944661" cy="338554"/>
          </a:xfrm>
          <a:prstGeom prst="rect">
            <a:avLst/>
          </a:prstGeom>
          <a:noFill/>
        </p:spPr>
        <p:txBody>
          <a:bodyPr wrap="square" lIns="91440" tIns="45720" rIns="91440" bIns="45720" anchor="t">
            <a:spAutoFit/>
          </a:bodyPr>
          <a:lstStyle/>
          <a:p>
            <a:pPr marL="447675" marR="0" lvl="0" indent="0" algn="l" defTabSz="914400" rtl="0" eaLnBrk="1" fontAlgn="auto" latinLnBrk="0" hangingPunct="1">
              <a:lnSpc>
                <a:spcPct val="100000"/>
              </a:lnSpc>
              <a:spcBef>
                <a:spcPts val="5"/>
              </a:spcBef>
              <a:spcAft>
                <a:spcPts val="0"/>
              </a:spcAft>
              <a:buClrTx/>
              <a:buSzTx/>
              <a:buFontTx/>
              <a:buNone/>
              <a:tabLst/>
              <a:defRPr/>
            </a:pPr>
            <a:r>
              <a:rPr kumimoji="0" lang="en-US" sz="1600" b="1" i="0" u="none" strike="noStrike" kern="1200" cap="none" spc="-10" normalizeH="0" baseline="0" noProof="0">
                <a:ln>
                  <a:noFill/>
                </a:ln>
                <a:solidFill>
                  <a:srgbClr val="54565B"/>
                </a:solidFill>
                <a:effectLst/>
                <a:uLnTx/>
                <a:uFillTx/>
                <a:latin typeface="Trebuchet MS"/>
                <a:cs typeface="Calibri"/>
              </a:rPr>
              <a:t>Figure</a:t>
            </a:r>
            <a:r>
              <a:rPr kumimoji="0" lang="en-US" sz="1600" b="1" i="0" u="none" strike="noStrike" kern="1200" cap="none" spc="15" normalizeH="0" baseline="0" noProof="0">
                <a:ln>
                  <a:noFill/>
                </a:ln>
                <a:solidFill>
                  <a:srgbClr val="54565B"/>
                </a:solidFill>
                <a:effectLst/>
                <a:uLnTx/>
                <a:uFillTx/>
                <a:latin typeface="Trebuchet MS"/>
                <a:cs typeface="Calibri"/>
              </a:rPr>
              <a:t> </a:t>
            </a:r>
            <a:r>
              <a:rPr kumimoji="0" lang="en-US" sz="1600" b="1" i="0" u="none" strike="noStrike" kern="1200" cap="none" spc="0" normalizeH="0" baseline="0" noProof="0">
                <a:ln>
                  <a:noFill/>
                </a:ln>
                <a:solidFill>
                  <a:srgbClr val="54565B"/>
                </a:solidFill>
                <a:effectLst/>
                <a:uLnTx/>
                <a:uFillTx/>
                <a:latin typeface="Trebuchet MS"/>
                <a:cs typeface="Calibri"/>
              </a:rPr>
              <a:t>3 -</a:t>
            </a:r>
            <a:r>
              <a:rPr kumimoji="0" lang="en-US" sz="1600" b="1" i="0" u="none" strike="noStrike" kern="1200" cap="none" spc="25" normalizeH="0" baseline="0" noProof="0">
                <a:ln>
                  <a:noFill/>
                </a:ln>
                <a:solidFill>
                  <a:srgbClr val="54565B"/>
                </a:solidFill>
                <a:effectLst/>
                <a:uLnTx/>
                <a:uFillTx/>
                <a:latin typeface="Trebuchet MS"/>
                <a:cs typeface="Calibri"/>
              </a:rPr>
              <a:t> </a:t>
            </a:r>
            <a:r>
              <a:rPr kumimoji="0" lang="en-US" sz="1600" b="1" i="0" u="none" strike="noStrike" kern="1200" cap="none" spc="-10" normalizeH="0" baseline="0" noProof="0">
                <a:ln>
                  <a:noFill/>
                </a:ln>
                <a:solidFill>
                  <a:srgbClr val="54565B"/>
                </a:solidFill>
                <a:effectLst/>
                <a:uLnTx/>
                <a:uFillTx/>
                <a:latin typeface="Trebuchet MS"/>
                <a:cs typeface="Calibri"/>
              </a:rPr>
              <a:t>Progression-free</a:t>
            </a:r>
            <a:r>
              <a:rPr kumimoji="0" lang="en-US" sz="1600" b="1" i="0" u="none" strike="noStrike" kern="1200" cap="none" spc="45" normalizeH="0" baseline="0" noProof="0">
                <a:ln>
                  <a:noFill/>
                </a:ln>
                <a:solidFill>
                  <a:srgbClr val="54565B"/>
                </a:solidFill>
                <a:effectLst/>
                <a:uLnTx/>
                <a:uFillTx/>
                <a:latin typeface="Trebuchet MS"/>
                <a:cs typeface="Calibri"/>
              </a:rPr>
              <a:t> </a:t>
            </a:r>
            <a:r>
              <a:rPr kumimoji="0" lang="en-US" sz="1600" b="1" i="0" u="none" strike="noStrike" kern="1200" cap="none" spc="-5" normalizeH="0" baseline="0" noProof="0">
                <a:ln>
                  <a:noFill/>
                </a:ln>
                <a:solidFill>
                  <a:srgbClr val="54565B"/>
                </a:solidFill>
                <a:effectLst/>
                <a:uLnTx/>
                <a:uFillTx/>
                <a:latin typeface="Trebuchet MS"/>
                <a:cs typeface="Calibri"/>
              </a:rPr>
              <a:t>(A)</a:t>
            </a:r>
            <a:r>
              <a:rPr kumimoji="0" lang="en-US" sz="1600" b="1" i="0" u="none" strike="noStrike" kern="1200" cap="none" spc="15" normalizeH="0" baseline="0" noProof="0">
                <a:ln>
                  <a:noFill/>
                </a:ln>
                <a:solidFill>
                  <a:srgbClr val="54565B"/>
                </a:solidFill>
                <a:effectLst/>
                <a:uLnTx/>
                <a:uFillTx/>
                <a:latin typeface="Trebuchet MS"/>
                <a:cs typeface="Calibri"/>
              </a:rPr>
              <a:t> </a:t>
            </a:r>
            <a:r>
              <a:rPr kumimoji="0" lang="en-US" sz="1600" b="1" i="0" u="none" strike="noStrike" kern="1200" cap="none" spc="-5" normalizeH="0" baseline="0" noProof="0">
                <a:ln>
                  <a:noFill/>
                </a:ln>
                <a:solidFill>
                  <a:srgbClr val="54565B"/>
                </a:solidFill>
                <a:effectLst/>
                <a:uLnTx/>
                <a:uFillTx/>
                <a:latin typeface="Trebuchet MS"/>
                <a:cs typeface="Calibri"/>
              </a:rPr>
              <a:t>and</a:t>
            </a:r>
            <a:r>
              <a:rPr kumimoji="0" lang="en-US" sz="1600" b="1" i="0" u="none" strike="noStrike" kern="1200" cap="none" spc="10" normalizeH="0" baseline="0" noProof="0">
                <a:ln>
                  <a:noFill/>
                </a:ln>
                <a:solidFill>
                  <a:srgbClr val="54565B"/>
                </a:solidFill>
                <a:effectLst/>
                <a:uLnTx/>
                <a:uFillTx/>
                <a:latin typeface="Trebuchet MS"/>
                <a:cs typeface="Calibri"/>
              </a:rPr>
              <a:t> </a:t>
            </a:r>
            <a:r>
              <a:rPr kumimoji="0" lang="en-US" sz="1600" b="1" i="0" u="none" strike="noStrike" kern="1200" cap="none" spc="-5" normalizeH="0" baseline="0" noProof="0">
                <a:ln>
                  <a:noFill/>
                </a:ln>
                <a:solidFill>
                  <a:srgbClr val="54565B"/>
                </a:solidFill>
                <a:effectLst/>
                <a:uLnTx/>
                <a:uFillTx/>
                <a:latin typeface="Trebuchet MS"/>
                <a:cs typeface="Calibri"/>
              </a:rPr>
              <a:t>overall</a:t>
            </a:r>
            <a:r>
              <a:rPr kumimoji="0" lang="en-US" sz="1600" b="1" i="0" u="none" strike="noStrike" kern="1200" cap="none" spc="45" normalizeH="0" baseline="0" noProof="0">
                <a:ln>
                  <a:noFill/>
                </a:ln>
                <a:solidFill>
                  <a:srgbClr val="54565B"/>
                </a:solidFill>
                <a:effectLst/>
                <a:uLnTx/>
                <a:uFillTx/>
                <a:latin typeface="Trebuchet MS"/>
                <a:cs typeface="Calibri"/>
              </a:rPr>
              <a:t> </a:t>
            </a:r>
            <a:r>
              <a:rPr kumimoji="0" lang="en-US" sz="1600" b="1" i="0" u="none" strike="noStrike" kern="1200" cap="none" spc="-10" normalizeH="0" baseline="0" noProof="0">
                <a:ln>
                  <a:noFill/>
                </a:ln>
                <a:solidFill>
                  <a:srgbClr val="54565B"/>
                </a:solidFill>
                <a:effectLst/>
                <a:uLnTx/>
                <a:uFillTx/>
                <a:latin typeface="Trebuchet MS"/>
                <a:cs typeface="Calibri"/>
              </a:rPr>
              <a:t>survival</a:t>
            </a:r>
            <a:r>
              <a:rPr kumimoji="0" lang="en-US" sz="1600" b="1" i="0" u="none" strike="noStrike" kern="1200" cap="none" spc="35" normalizeH="0" baseline="0" noProof="0">
                <a:ln>
                  <a:noFill/>
                </a:ln>
                <a:solidFill>
                  <a:srgbClr val="54565B"/>
                </a:solidFill>
                <a:effectLst/>
                <a:uLnTx/>
                <a:uFillTx/>
                <a:latin typeface="Trebuchet MS"/>
                <a:cs typeface="Calibri"/>
              </a:rPr>
              <a:t> </a:t>
            </a:r>
            <a:r>
              <a:rPr kumimoji="0" lang="en-US" sz="1600" b="1" i="0" u="none" strike="noStrike" kern="1200" cap="none" spc="0" normalizeH="0" baseline="0" noProof="0">
                <a:ln>
                  <a:noFill/>
                </a:ln>
                <a:solidFill>
                  <a:srgbClr val="54565B"/>
                </a:solidFill>
                <a:effectLst/>
                <a:uLnTx/>
                <a:uFillTx/>
                <a:latin typeface="Trebuchet MS"/>
                <a:cs typeface="Calibri"/>
              </a:rPr>
              <a:t>(B)</a:t>
            </a:r>
            <a:r>
              <a:rPr kumimoji="0" lang="en-US" sz="1600" b="1" i="0" u="none" strike="noStrike" kern="1200" cap="none" spc="-5" normalizeH="0" baseline="0" noProof="0">
                <a:ln>
                  <a:noFill/>
                </a:ln>
                <a:solidFill>
                  <a:srgbClr val="54565B"/>
                </a:solidFill>
                <a:effectLst/>
                <a:uLnTx/>
                <a:uFillTx/>
                <a:latin typeface="Trebuchet MS"/>
                <a:cs typeface="Calibri"/>
              </a:rPr>
              <a:t> for</a:t>
            </a:r>
            <a:r>
              <a:rPr kumimoji="0" lang="en-US" sz="1600" b="1" i="0" u="none" strike="noStrike" kern="1200" cap="none" spc="15" normalizeH="0" baseline="0" noProof="0">
                <a:ln>
                  <a:noFill/>
                </a:ln>
                <a:solidFill>
                  <a:srgbClr val="54565B"/>
                </a:solidFill>
                <a:effectLst/>
                <a:uLnTx/>
                <a:uFillTx/>
                <a:latin typeface="Trebuchet MS"/>
                <a:cs typeface="Calibri"/>
              </a:rPr>
              <a:t> </a:t>
            </a:r>
            <a:r>
              <a:rPr kumimoji="0" lang="en-US" sz="1600" b="1" i="0" u="none" strike="noStrike" kern="1200" cap="none" spc="-5" normalizeH="0" baseline="0" noProof="0">
                <a:ln>
                  <a:noFill/>
                </a:ln>
                <a:solidFill>
                  <a:srgbClr val="54565B"/>
                </a:solidFill>
                <a:effectLst/>
                <a:uLnTx/>
                <a:uFillTx/>
                <a:latin typeface="Trebuchet MS"/>
                <a:cs typeface="Calibri"/>
              </a:rPr>
              <a:t>patients</a:t>
            </a:r>
            <a:r>
              <a:rPr kumimoji="0" lang="en-US" sz="1600" b="1" i="0" u="none" strike="noStrike" kern="1200" cap="none" spc="40" normalizeH="0" baseline="0" noProof="0">
                <a:ln>
                  <a:noFill/>
                </a:ln>
                <a:solidFill>
                  <a:srgbClr val="54565B"/>
                </a:solidFill>
                <a:effectLst/>
                <a:uLnTx/>
                <a:uFillTx/>
                <a:latin typeface="Trebuchet MS"/>
                <a:cs typeface="Calibri"/>
              </a:rPr>
              <a:t> </a:t>
            </a:r>
            <a:r>
              <a:rPr kumimoji="0" lang="en-US" sz="1600" b="1" i="0" u="none" strike="noStrike" kern="1200" cap="none" spc="-5" normalizeH="0" baseline="0" noProof="0">
                <a:ln>
                  <a:noFill/>
                </a:ln>
                <a:solidFill>
                  <a:srgbClr val="54565B"/>
                </a:solidFill>
                <a:effectLst/>
                <a:uLnTx/>
                <a:uFillTx/>
                <a:latin typeface="Trebuchet MS"/>
                <a:cs typeface="Calibri"/>
              </a:rPr>
              <a:t>without</a:t>
            </a:r>
            <a:r>
              <a:rPr kumimoji="0" lang="en-US" sz="1600" b="1" i="0" u="none" strike="noStrike" kern="1200" cap="none" spc="30" normalizeH="0" baseline="0" noProof="0">
                <a:ln>
                  <a:noFill/>
                </a:ln>
                <a:solidFill>
                  <a:srgbClr val="54565B"/>
                </a:solidFill>
                <a:effectLst/>
                <a:uLnTx/>
                <a:uFillTx/>
                <a:latin typeface="Trebuchet MS"/>
                <a:cs typeface="Calibri"/>
              </a:rPr>
              <a:t> </a:t>
            </a:r>
            <a:r>
              <a:rPr kumimoji="0" lang="en-US" sz="1600" b="1" i="0" u="none" strike="noStrike" kern="1200" cap="none" spc="-5" normalizeH="0" baseline="0" noProof="0">
                <a:ln>
                  <a:noFill/>
                </a:ln>
                <a:solidFill>
                  <a:srgbClr val="54565B"/>
                </a:solidFill>
                <a:effectLst/>
                <a:uLnTx/>
                <a:uFillTx/>
                <a:latin typeface="Trebuchet MS"/>
                <a:cs typeface="Calibri"/>
              </a:rPr>
              <a:t>or</a:t>
            </a:r>
            <a:r>
              <a:rPr kumimoji="0" lang="en-US" sz="1600" b="1" i="0" u="none" strike="noStrike" kern="1200" cap="none" spc="20" normalizeH="0" baseline="0" noProof="0">
                <a:ln>
                  <a:noFill/>
                </a:ln>
                <a:solidFill>
                  <a:srgbClr val="54565B"/>
                </a:solidFill>
                <a:effectLst/>
                <a:uLnTx/>
                <a:uFillTx/>
                <a:latin typeface="Trebuchet MS"/>
                <a:cs typeface="Calibri"/>
              </a:rPr>
              <a:t> </a:t>
            </a:r>
            <a:r>
              <a:rPr kumimoji="0" lang="en-US" sz="1600" b="1" i="0" u="none" strike="noStrike" kern="1200" cap="none" spc="-10" normalizeH="0" baseline="0" noProof="0">
                <a:ln>
                  <a:noFill/>
                </a:ln>
                <a:solidFill>
                  <a:srgbClr val="54565B"/>
                </a:solidFill>
                <a:effectLst/>
                <a:uLnTx/>
                <a:uFillTx/>
                <a:latin typeface="Trebuchet MS"/>
                <a:cs typeface="Calibri"/>
              </a:rPr>
              <a:t>with</a:t>
            </a:r>
            <a:r>
              <a:rPr kumimoji="0" lang="en-US" sz="1600" b="1" i="0" u="none" strike="noStrike" kern="1200" cap="none" spc="25" normalizeH="0" baseline="0" noProof="0">
                <a:ln>
                  <a:noFill/>
                </a:ln>
                <a:solidFill>
                  <a:srgbClr val="54565B"/>
                </a:solidFill>
                <a:effectLst/>
                <a:uLnTx/>
                <a:uFillTx/>
                <a:latin typeface="Trebuchet MS"/>
                <a:cs typeface="Calibri"/>
              </a:rPr>
              <a:t> </a:t>
            </a:r>
            <a:r>
              <a:rPr kumimoji="0" lang="en-US" sz="1600" b="1" i="0" u="none" strike="noStrike" kern="1200" cap="none" spc="-5" normalizeH="0" baseline="0" noProof="0">
                <a:ln>
                  <a:noFill/>
                </a:ln>
                <a:solidFill>
                  <a:srgbClr val="54565B"/>
                </a:solidFill>
                <a:effectLst/>
                <a:uLnTx/>
                <a:uFillTx/>
                <a:latin typeface="Trebuchet MS"/>
                <a:cs typeface="Calibri"/>
              </a:rPr>
              <a:t>brain</a:t>
            </a:r>
            <a:r>
              <a:rPr kumimoji="0" lang="en-US" sz="1600" b="1" i="0" u="none" strike="noStrike" kern="1200" cap="none" spc="40" normalizeH="0" baseline="0" noProof="0">
                <a:ln>
                  <a:noFill/>
                </a:ln>
                <a:solidFill>
                  <a:srgbClr val="54565B"/>
                </a:solidFill>
                <a:effectLst/>
                <a:uLnTx/>
                <a:uFillTx/>
                <a:latin typeface="Trebuchet MS"/>
                <a:cs typeface="Calibri"/>
              </a:rPr>
              <a:t> </a:t>
            </a:r>
            <a:r>
              <a:rPr kumimoji="0" lang="en-US" sz="1600" b="1" i="0" u="none" strike="noStrike" kern="1200" cap="none" spc="-10" normalizeH="0" baseline="0" noProof="0">
                <a:ln>
                  <a:noFill/>
                </a:ln>
                <a:solidFill>
                  <a:srgbClr val="54565B"/>
                </a:solidFill>
                <a:effectLst/>
                <a:uLnTx/>
                <a:uFillTx/>
                <a:latin typeface="Trebuchet MS"/>
                <a:cs typeface="Calibri"/>
              </a:rPr>
              <a:t>metastases</a:t>
            </a:r>
            <a:endParaRPr lang="en-US" sz="1600" b="1" i="0" u="none" strike="noStrike" kern="1200" cap="none" spc="0" normalizeH="0" baseline="0" noProof="0">
              <a:ln>
                <a:noFill/>
              </a:ln>
              <a:solidFill>
                <a:srgbClr val="54565B"/>
              </a:solidFill>
              <a:effectLst/>
              <a:uLnTx/>
              <a:uFillTx/>
              <a:latin typeface="Trebuchet MS"/>
              <a:cs typeface="Calibri"/>
            </a:endParaRPr>
          </a:p>
        </p:txBody>
      </p:sp>
      <p:sp>
        <p:nvSpPr>
          <p:cNvPr id="58" name="TextBox 57">
            <a:extLst>
              <a:ext uri="{FF2B5EF4-FFF2-40B4-BE49-F238E27FC236}">
                <a16:creationId xmlns:a16="http://schemas.microsoft.com/office/drawing/2014/main" id="{B8EBC1EF-5376-49FB-B7E2-D3B4379041C0}"/>
              </a:ext>
            </a:extLst>
          </p:cNvPr>
          <p:cNvSpPr txBox="1"/>
          <p:nvPr/>
        </p:nvSpPr>
        <p:spPr>
          <a:xfrm>
            <a:off x="772781" y="3260049"/>
            <a:ext cx="10312058" cy="338554"/>
          </a:xfrm>
          <a:prstGeom prst="rect">
            <a:avLst/>
          </a:prstGeom>
          <a:noFill/>
        </p:spPr>
        <p:txBody>
          <a:bodyPr wrap="square" lIns="91440" tIns="45720" rIns="91440" bIns="45720" anchor="t">
            <a:spAutoFit/>
          </a:bodyPr>
          <a:lstStyle/>
          <a:p>
            <a:pPr marL="447675" marR="0" lvl="0" indent="0" algn="l" defTabSz="914400" rtl="0" eaLnBrk="1" fontAlgn="auto" latinLnBrk="0" hangingPunct="1">
              <a:lnSpc>
                <a:spcPct val="100000"/>
              </a:lnSpc>
              <a:spcBef>
                <a:spcPts val="5"/>
              </a:spcBef>
              <a:spcAft>
                <a:spcPts val="0"/>
              </a:spcAft>
              <a:buClrTx/>
              <a:buSzTx/>
              <a:buFontTx/>
              <a:buNone/>
              <a:tabLst/>
              <a:defRPr/>
            </a:pPr>
            <a:r>
              <a:rPr kumimoji="0" lang="en-US" sz="1600" b="1" i="0" u="none" strike="noStrike" kern="1200" cap="none" spc="-10" normalizeH="0" baseline="0" noProof="0">
                <a:ln>
                  <a:noFill/>
                </a:ln>
                <a:solidFill>
                  <a:srgbClr val="54565B"/>
                </a:solidFill>
                <a:effectLst/>
                <a:uLnTx/>
                <a:uFillTx/>
                <a:latin typeface="Trebuchet MS"/>
                <a:cs typeface="Calibri"/>
              </a:rPr>
              <a:t>Figure 4 - Progression-free (A) and overall survival (B) according number of prior lines of treatment</a:t>
            </a:r>
            <a:endParaRPr lang="en-US" sz="1600" b="1" i="0" u="none" strike="noStrike" kern="1200" cap="none" spc="-10" normalizeH="0" baseline="0" noProof="0">
              <a:ln>
                <a:noFill/>
              </a:ln>
              <a:solidFill>
                <a:srgbClr val="54565B"/>
              </a:solidFill>
              <a:effectLst/>
              <a:uLnTx/>
              <a:uFillTx/>
              <a:latin typeface="Trebuchet MS"/>
              <a:cs typeface="Calibri"/>
            </a:endParaRPr>
          </a:p>
        </p:txBody>
      </p:sp>
      <p:sp>
        <p:nvSpPr>
          <p:cNvPr id="60" name="TextBox 59">
            <a:extLst>
              <a:ext uri="{FF2B5EF4-FFF2-40B4-BE49-F238E27FC236}">
                <a16:creationId xmlns:a16="http://schemas.microsoft.com/office/drawing/2014/main" id="{F1BC26AD-21F9-489D-ADF1-D6E5D2CC1473}"/>
              </a:ext>
            </a:extLst>
          </p:cNvPr>
          <p:cNvSpPr txBox="1"/>
          <p:nvPr/>
        </p:nvSpPr>
        <p:spPr>
          <a:xfrm>
            <a:off x="598639" y="5651380"/>
            <a:ext cx="1094354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rPr>
              <a:t>Univariate and multivariate analyses were undertaken to explore factors associated with PFS, none of them was statistically significant: age, performance status, previous systemic therapies, triple negative disease at diagnosis, de novo or recurrent metastatic disease, number and type of metastasis (including liver and brain involvement), BRCA mutation.</a:t>
            </a:r>
          </a:p>
        </p:txBody>
      </p:sp>
      <p:grpSp>
        <p:nvGrpSpPr>
          <p:cNvPr id="261" name="Group 260">
            <a:extLst>
              <a:ext uri="{FF2B5EF4-FFF2-40B4-BE49-F238E27FC236}">
                <a16:creationId xmlns:a16="http://schemas.microsoft.com/office/drawing/2014/main" id="{A292E4E1-9063-4EDF-BB4D-C8251690C353}"/>
              </a:ext>
            </a:extLst>
          </p:cNvPr>
          <p:cNvGrpSpPr/>
          <p:nvPr/>
        </p:nvGrpSpPr>
        <p:grpSpPr>
          <a:xfrm>
            <a:off x="219614" y="1024254"/>
            <a:ext cx="4432403" cy="2223473"/>
            <a:chOff x="5463173" y="979451"/>
            <a:chExt cx="4432403" cy="2223473"/>
          </a:xfrm>
        </p:grpSpPr>
        <p:grpSp>
          <p:nvGrpSpPr>
            <p:cNvPr id="262" name="Group 261">
              <a:extLst>
                <a:ext uri="{FF2B5EF4-FFF2-40B4-BE49-F238E27FC236}">
                  <a16:creationId xmlns:a16="http://schemas.microsoft.com/office/drawing/2014/main" id="{10B7FE53-3B55-430C-B008-4566F7F72631}"/>
                </a:ext>
              </a:extLst>
            </p:cNvPr>
            <p:cNvGrpSpPr/>
            <p:nvPr/>
          </p:nvGrpSpPr>
          <p:grpSpPr>
            <a:xfrm>
              <a:off x="6409480" y="1148691"/>
              <a:ext cx="2969679" cy="1866311"/>
              <a:chOff x="1804298" y="-451509"/>
              <a:chExt cx="2969679" cy="1866311"/>
            </a:xfrm>
          </p:grpSpPr>
          <p:graphicFrame>
            <p:nvGraphicFramePr>
              <p:cNvPr id="332" name="Chart 331">
                <a:extLst>
                  <a:ext uri="{FF2B5EF4-FFF2-40B4-BE49-F238E27FC236}">
                    <a16:creationId xmlns:a16="http://schemas.microsoft.com/office/drawing/2014/main" id="{4A77D6ED-3EB5-4CCC-83F9-705EB25A79C3}"/>
                  </a:ext>
                </a:extLst>
              </p:cNvPr>
              <p:cNvGraphicFramePr/>
              <p:nvPr/>
            </p:nvGraphicFramePr>
            <p:xfrm>
              <a:off x="1804298" y="-451509"/>
              <a:ext cx="2932294" cy="12938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3" name="Chart 332">
                <a:extLst>
                  <a:ext uri="{FF2B5EF4-FFF2-40B4-BE49-F238E27FC236}">
                    <a16:creationId xmlns:a16="http://schemas.microsoft.com/office/drawing/2014/main" id="{143E71EC-CF94-4E8E-AA3A-B7CE06F9AF7E}"/>
                  </a:ext>
                </a:extLst>
              </p:cNvPr>
              <p:cNvGraphicFramePr/>
              <p:nvPr>
                <p:extLst>
                  <p:ext uri="{D42A27DB-BD31-4B8C-83A1-F6EECF244321}">
                    <p14:modId xmlns:p14="http://schemas.microsoft.com/office/powerpoint/2010/main" val="826781701"/>
                  </p:ext>
                </p:extLst>
              </p:nvPr>
            </p:nvGraphicFramePr>
            <p:xfrm>
              <a:off x="1958015" y="876831"/>
              <a:ext cx="2815962" cy="537971"/>
            </p:xfrm>
            <a:graphic>
              <a:graphicData uri="http://schemas.openxmlformats.org/drawingml/2006/chart">
                <c:chart xmlns:c="http://schemas.openxmlformats.org/drawingml/2006/chart" xmlns:r="http://schemas.openxmlformats.org/officeDocument/2006/relationships" r:id="rId4"/>
              </a:graphicData>
            </a:graphic>
          </p:graphicFrame>
          <p:sp>
            <p:nvSpPr>
              <p:cNvPr id="334" name="TextBox 333">
                <a:extLst>
                  <a:ext uri="{FF2B5EF4-FFF2-40B4-BE49-F238E27FC236}">
                    <a16:creationId xmlns:a16="http://schemas.microsoft.com/office/drawing/2014/main" id="{D8DE1224-39C7-496B-B11A-FA6CAB758289}"/>
                  </a:ext>
                </a:extLst>
              </p:cNvPr>
              <p:cNvSpPr txBox="1"/>
              <p:nvPr/>
            </p:nvSpPr>
            <p:spPr>
              <a:xfrm>
                <a:off x="1949605" y="1045788"/>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32</a:t>
                </a:r>
              </a:p>
            </p:txBody>
          </p:sp>
          <p:sp>
            <p:nvSpPr>
              <p:cNvPr id="335" name="TextBox 334">
                <a:extLst>
                  <a:ext uri="{FF2B5EF4-FFF2-40B4-BE49-F238E27FC236}">
                    <a16:creationId xmlns:a16="http://schemas.microsoft.com/office/drawing/2014/main" id="{70165166-DB10-4401-BA1B-7F540345581C}"/>
                  </a:ext>
                </a:extLst>
              </p:cNvPr>
              <p:cNvSpPr txBox="1"/>
              <p:nvPr/>
            </p:nvSpPr>
            <p:spPr>
              <a:xfrm>
                <a:off x="1949605" y="945760"/>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71</a:t>
                </a:r>
              </a:p>
            </p:txBody>
          </p:sp>
          <p:sp>
            <p:nvSpPr>
              <p:cNvPr id="336" name="TextBox 335">
                <a:extLst>
                  <a:ext uri="{FF2B5EF4-FFF2-40B4-BE49-F238E27FC236}">
                    <a16:creationId xmlns:a16="http://schemas.microsoft.com/office/drawing/2014/main" id="{4FAA9CBF-6E96-4A38-9752-43EFF73EE9D9}"/>
                  </a:ext>
                </a:extLst>
              </p:cNvPr>
              <p:cNvSpPr txBox="1"/>
              <p:nvPr/>
            </p:nvSpPr>
            <p:spPr>
              <a:xfrm>
                <a:off x="2761761" y="1045788"/>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9</a:t>
                </a:r>
              </a:p>
            </p:txBody>
          </p:sp>
          <p:sp>
            <p:nvSpPr>
              <p:cNvPr id="337" name="TextBox 336">
                <a:extLst>
                  <a:ext uri="{FF2B5EF4-FFF2-40B4-BE49-F238E27FC236}">
                    <a16:creationId xmlns:a16="http://schemas.microsoft.com/office/drawing/2014/main" id="{9B0B272E-FF38-47D7-83A0-33D6F7974E0D}"/>
                  </a:ext>
                </a:extLst>
              </p:cNvPr>
              <p:cNvSpPr txBox="1"/>
              <p:nvPr/>
            </p:nvSpPr>
            <p:spPr>
              <a:xfrm>
                <a:off x="2761761" y="945760"/>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24</a:t>
                </a:r>
              </a:p>
            </p:txBody>
          </p:sp>
          <p:sp>
            <p:nvSpPr>
              <p:cNvPr id="338" name="TextBox 337">
                <a:extLst>
                  <a:ext uri="{FF2B5EF4-FFF2-40B4-BE49-F238E27FC236}">
                    <a16:creationId xmlns:a16="http://schemas.microsoft.com/office/drawing/2014/main" id="{4BEF95DC-76A8-4AED-B475-B72C70DF4163}"/>
                  </a:ext>
                </a:extLst>
              </p:cNvPr>
              <p:cNvSpPr txBox="1"/>
              <p:nvPr/>
            </p:nvSpPr>
            <p:spPr>
              <a:xfrm>
                <a:off x="3592609" y="1045788"/>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0</a:t>
                </a:r>
              </a:p>
            </p:txBody>
          </p:sp>
          <p:sp>
            <p:nvSpPr>
              <p:cNvPr id="339" name="TextBox 338">
                <a:extLst>
                  <a:ext uri="{FF2B5EF4-FFF2-40B4-BE49-F238E27FC236}">
                    <a16:creationId xmlns:a16="http://schemas.microsoft.com/office/drawing/2014/main" id="{8E311358-FC8A-47B3-9443-3708C0EBBC98}"/>
                  </a:ext>
                </a:extLst>
              </p:cNvPr>
              <p:cNvSpPr txBox="1"/>
              <p:nvPr/>
            </p:nvSpPr>
            <p:spPr>
              <a:xfrm>
                <a:off x="3592609" y="945760"/>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6</a:t>
                </a:r>
              </a:p>
            </p:txBody>
          </p:sp>
          <p:sp>
            <p:nvSpPr>
              <p:cNvPr id="340" name="TextBox 339">
                <a:extLst>
                  <a:ext uri="{FF2B5EF4-FFF2-40B4-BE49-F238E27FC236}">
                    <a16:creationId xmlns:a16="http://schemas.microsoft.com/office/drawing/2014/main" id="{0AFF96B3-A3EE-4FB3-B13C-281C587A8506}"/>
                  </a:ext>
                </a:extLst>
              </p:cNvPr>
              <p:cNvSpPr txBox="1"/>
              <p:nvPr/>
            </p:nvSpPr>
            <p:spPr>
              <a:xfrm>
                <a:off x="4404765" y="1045788"/>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0</a:t>
                </a:r>
              </a:p>
            </p:txBody>
          </p:sp>
          <p:sp>
            <p:nvSpPr>
              <p:cNvPr id="341" name="TextBox 340">
                <a:extLst>
                  <a:ext uri="{FF2B5EF4-FFF2-40B4-BE49-F238E27FC236}">
                    <a16:creationId xmlns:a16="http://schemas.microsoft.com/office/drawing/2014/main" id="{699B6FA3-7B6F-465B-89BF-7CC92E56B567}"/>
                  </a:ext>
                </a:extLst>
              </p:cNvPr>
              <p:cNvSpPr txBox="1"/>
              <p:nvPr/>
            </p:nvSpPr>
            <p:spPr>
              <a:xfrm>
                <a:off x="4404765" y="945760"/>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1</a:t>
                </a:r>
              </a:p>
            </p:txBody>
          </p:sp>
        </p:grpSp>
        <p:sp>
          <p:nvSpPr>
            <p:cNvPr id="263" name="TextBox 262">
              <a:extLst>
                <a:ext uri="{FF2B5EF4-FFF2-40B4-BE49-F238E27FC236}">
                  <a16:creationId xmlns:a16="http://schemas.microsoft.com/office/drawing/2014/main" id="{17419A9C-8671-4F7F-A38E-7AA1E7E9A896}"/>
                </a:ext>
              </a:extLst>
            </p:cNvPr>
            <p:cNvSpPr txBox="1"/>
            <p:nvPr/>
          </p:nvSpPr>
          <p:spPr>
            <a:xfrm rot="16200000">
              <a:off x="5969069" y="1680211"/>
              <a:ext cx="50907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PFS</a:t>
              </a:r>
            </a:p>
          </p:txBody>
        </p:sp>
        <p:sp>
          <p:nvSpPr>
            <p:cNvPr id="274" name="TextBox 273">
              <a:extLst>
                <a:ext uri="{FF2B5EF4-FFF2-40B4-BE49-F238E27FC236}">
                  <a16:creationId xmlns:a16="http://schemas.microsoft.com/office/drawing/2014/main" id="{228925E4-BC9C-4E8A-92D3-53238675BC5A}"/>
                </a:ext>
              </a:extLst>
            </p:cNvPr>
            <p:cNvSpPr txBox="1"/>
            <p:nvPr/>
          </p:nvSpPr>
          <p:spPr>
            <a:xfrm rot="16200000">
              <a:off x="5324049" y="2614659"/>
              <a:ext cx="50907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PFS</a:t>
              </a:r>
            </a:p>
          </p:txBody>
        </p:sp>
        <p:sp>
          <p:nvSpPr>
            <p:cNvPr id="296" name="TextBox 295">
              <a:extLst>
                <a:ext uri="{FF2B5EF4-FFF2-40B4-BE49-F238E27FC236}">
                  <a16:creationId xmlns:a16="http://schemas.microsoft.com/office/drawing/2014/main" id="{81DC714C-6A2C-48C3-BA5C-4EC8BD29CC25}"/>
                </a:ext>
              </a:extLst>
            </p:cNvPr>
            <p:cNvSpPr txBox="1"/>
            <p:nvPr/>
          </p:nvSpPr>
          <p:spPr>
            <a:xfrm>
              <a:off x="7485080" y="2319604"/>
              <a:ext cx="95908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Time (Months)</a:t>
              </a:r>
            </a:p>
          </p:txBody>
        </p:sp>
        <p:sp>
          <p:nvSpPr>
            <p:cNvPr id="297" name="TextBox 296">
              <a:extLst>
                <a:ext uri="{FF2B5EF4-FFF2-40B4-BE49-F238E27FC236}">
                  <a16:creationId xmlns:a16="http://schemas.microsoft.com/office/drawing/2014/main" id="{35BF40E2-339A-49D1-92C6-1AD7DFBA60A6}"/>
                </a:ext>
              </a:extLst>
            </p:cNvPr>
            <p:cNvSpPr txBox="1"/>
            <p:nvPr/>
          </p:nvSpPr>
          <p:spPr>
            <a:xfrm>
              <a:off x="7485080" y="2972092"/>
              <a:ext cx="95908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Time (Months)</a:t>
              </a:r>
            </a:p>
          </p:txBody>
        </p:sp>
        <p:sp>
          <p:nvSpPr>
            <p:cNvPr id="298" name="TextBox 297">
              <a:extLst>
                <a:ext uri="{FF2B5EF4-FFF2-40B4-BE49-F238E27FC236}">
                  <a16:creationId xmlns:a16="http://schemas.microsoft.com/office/drawing/2014/main" id="{F2E858BC-EDDC-4DFC-A7AB-4E077EDEBF5B}"/>
                </a:ext>
              </a:extLst>
            </p:cNvPr>
            <p:cNvSpPr txBox="1"/>
            <p:nvPr/>
          </p:nvSpPr>
          <p:spPr>
            <a:xfrm>
              <a:off x="6563196" y="2412590"/>
              <a:ext cx="95908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Arial" panose="020B0604020202020204"/>
                  <a:ea typeface="+mn-ea"/>
                  <a:cs typeface="+mn-cs"/>
                </a:rPr>
                <a:t>Number at Risk</a:t>
              </a:r>
            </a:p>
          </p:txBody>
        </p:sp>
        <p:sp>
          <p:nvSpPr>
            <p:cNvPr id="299" name="TextBox 298">
              <a:extLst>
                <a:ext uri="{FF2B5EF4-FFF2-40B4-BE49-F238E27FC236}">
                  <a16:creationId xmlns:a16="http://schemas.microsoft.com/office/drawing/2014/main" id="{9528071B-96F5-4898-B2B6-1177822EEF9D}"/>
                </a:ext>
              </a:extLst>
            </p:cNvPr>
            <p:cNvSpPr txBox="1"/>
            <p:nvPr/>
          </p:nvSpPr>
          <p:spPr>
            <a:xfrm>
              <a:off x="5603143" y="2598098"/>
              <a:ext cx="11423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8361"/>
                  </a:solidFill>
                  <a:effectLst/>
                  <a:uLnTx/>
                  <a:uFillTx/>
                  <a:latin typeface="Arial" panose="020B0604020202020204"/>
                  <a:ea typeface="+mn-ea"/>
                  <a:cs typeface="+mn-cs"/>
                </a:rPr>
                <a:t>Patients with no CNS </a:t>
              </a:r>
              <a:r>
                <a:rPr kumimoji="0" lang="en-US" sz="600" b="0" i="0" u="none" strike="noStrike" kern="1200" cap="none" spc="0" normalizeH="0" baseline="0" noProof="0" err="1">
                  <a:ln>
                    <a:noFill/>
                  </a:ln>
                  <a:solidFill>
                    <a:srgbClr val="008361"/>
                  </a:solidFill>
                  <a:effectLst/>
                  <a:uLnTx/>
                  <a:uFillTx/>
                  <a:latin typeface="Arial" panose="020B0604020202020204"/>
                  <a:ea typeface="+mn-ea"/>
                  <a:cs typeface="+mn-cs"/>
                </a:rPr>
                <a:t>mets</a:t>
              </a:r>
              <a:endParaRPr kumimoji="0" lang="en-US" sz="600" b="0" i="0" u="none" strike="noStrike" kern="1200" cap="none" spc="0" normalizeH="0" baseline="0" noProof="0">
                <a:ln>
                  <a:noFill/>
                </a:ln>
                <a:solidFill>
                  <a:srgbClr val="00836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03661"/>
                  </a:solidFill>
                  <a:effectLst/>
                  <a:uLnTx/>
                  <a:uFillTx/>
                  <a:latin typeface="Arial" panose="020B0604020202020204"/>
                  <a:ea typeface="+mn-ea"/>
                  <a:cs typeface="+mn-cs"/>
                </a:rPr>
                <a:t>Patients with CNS </a:t>
              </a:r>
              <a:r>
                <a:rPr kumimoji="0" lang="en-US" sz="600" b="0" i="0" u="none" strike="noStrike" kern="1200" cap="none" spc="0" normalizeH="0" baseline="0" noProof="0" err="1">
                  <a:ln>
                    <a:noFill/>
                  </a:ln>
                  <a:solidFill>
                    <a:srgbClr val="203661"/>
                  </a:solidFill>
                  <a:effectLst/>
                  <a:uLnTx/>
                  <a:uFillTx/>
                  <a:latin typeface="Arial" panose="020B0604020202020204"/>
                  <a:ea typeface="+mn-ea"/>
                  <a:cs typeface="+mn-cs"/>
                </a:rPr>
                <a:t>mets</a:t>
              </a:r>
              <a:r>
                <a:rPr kumimoji="0" lang="en-US" sz="600" b="0" i="0" u="none" strike="noStrike" kern="1200" cap="none" spc="0" normalizeH="0" baseline="0" noProof="0">
                  <a:ln>
                    <a:noFill/>
                  </a:ln>
                  <a:solidFill>
                    <a:srgbClr val="203661"/>
                  </a:solidFill>
                  <a:effectLst/>
                  <a:uLnTx/>
                  <a:uFillTx/>
                  <a:latin typeface="Arial" panose="020B0604020202020204"/>
                  <a:ea typeface="+mn-ea"/>
                  <a:cs typeface="+mn-cs"/>
                </a:rPr>
                <a:t> </a:t>
              </a:r>
            </a:p>
          </p:txBody>
        </p:sp>
        <p:sp>
          <p:nvSpPr>
            <p:cNvPr id="300" name="TextBox 299">
              <a:extLst>
                <a:ext uri="{FF2B5EF4-FFF2-40B4-BE49-F238E27FC236}">
                  <a16:creationId xmlns:a16="http://schemas.microsoft.com/office/drawing/2014/main" id="{0C852057-158A-4C94-9256-8E4078F8224F}"/>
                </a:ext>
              </a:extLst>
            </p:cNvPr>
            <p:cNvSpPr txBox="1"/>
            <p:nvPr/>
          </p:nvSpPr>
          <p:spPr>
            <a:xfrm>
              <a:off x="6818566" y="1950139"/>
              <a:ext cx="588074"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p=0.067</a:t>
              </a:r>
            </a:p>
          </p:txBody>
        </p:sp>
        <p:grpSp>
          <p:nvGrpSpPr>
            <p:cNvPr id="301" name="Group 300">
              <a:extLst>
                <a:ext uri="{FF2B5EF4-FFF2-40B4-BE49-F238E27FC236}">
                  <a16:creationId xmlns:a16="http://schemas.microsoft.com/office/drawing/2014/main" id="{909490A2-D511-483E-9A98-C50F4A6CB7CE}"/>
                </a:ext>
              </a:extLst>
            </p:cNvPr>
            <p:cNvGrpSpPr/>
            <p:nvPr/>
          </p:nvGrpSpPr>
          <p:grpSpPr>
            <a:xfrm>
              <a:off x="8154230" y="1071469"/>
              <a:ext cx="238760" cy="141658"/>
              <a:chOff x="6372860" y="4911027"/>
              <a:chExt cx="238760" cy="141658"/>
            </a:xfrm>
          </p:grpSpPr>
          <p:cxnSp>
            <p:nvCxnSpPr>
              <p:cNvPr id="328" name="Straight Connector 327">
                <a:extLst>
                  <a:ext uri="{FF2B5EF4-FFF2-40B4-BE49-F238E27FC236}">
                    <a16:creationId xmlns:a16="http://schemas.microsoft.com/office/drawing/2014/main" id="{B4ED3D93-39CA-48BB-B43E-665FE90A070A}"/>
                  </a:ext>
                </a:extLst>
              </p:cNvPr>
              <p:cNvCxnSpPr/>
              <p:nvPr/>
            </p:nvCxnSpPr>
            <p:spPr>
              <a:xfrm>
                <a:off x="6372860" y="4937389"/>
                <a:ext cx="238760" cy="0"/>
              </a:xfrm>
              <a:prstGeom prst="line">
                <a:avLst/>
              </a:prstGeom>
              <a:ln w="12700">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7DC942FC-BF8C-45BE-B28C-DD6B4C91F0FC}"/>
                  </a:ext>
                </a:extLst>
              </p:cNvPr>
              <p:cNvCxnSpPr/>
              <p:nvPr/>
            </p:nvCxnSpPr>
            <p:spPr>
              <a:xfrm>
                <a:off x="6372860" y="5026323"/>
                <a:ext cx="238760" cy="0"/>
              </a:xfrm>
              <a:prstGeom prst="line">
                <a:avLst/>
              </a:prstGeom>
              <a:ln w="12700">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BF72A56A-03AC-428A-B454-00498D44E8A8}"/>
                  </a:ext>
                </a:extLst>
              </p:cNvPr>
              <p:cNvCxnSpPr>
                <a:cxnSpLocks/>
              </p:cNvCxnSpPr>
              <p:nvPr/>
            </p:nvCxnSpPr>
            <p:spPr>
              <a:xfrm>
                <a:off x="6492240" y="4911027"/>
                <a:ext cx="0" cy="52724"/>
              </a:xfrm>
              <a:prstGeom prst="line">
                <a:avLst/>
              </a:prstGeom>
              <a:ln w="12700">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4B50FA76-ADDB-4927-8C2E-06D053B48733}"/>
                  </a:ext>
                </a:extLst>
              </p:cNvPr>
              <p:cNvCxnSpPr>
                <a:cxnSpLocks/>
              </p:cNvCxnSpPr>
              <p:nvPr/>
            </p:nvCxnSpPr>
            <p:spPr>
              <a:xfrm>
                <a:off x="6492240" y="4999961"/>
                <a:ext cx="0" cy="52724"/>
              </a:xfrm>
              <a:prstGeom prst="line">
                <a:avLst/>
              </a:prstGeom>
              <a:ln w="12700">
                <a:solidFill>
                  <a:srgbClr val="203661"/>
                </a:solidFill>
              </a:ln>
            </p:spPr>
            <p:style>
              <a:lnRef idx="1">
                <a:schemeClr val="accent1"/>
              </a:lnRef>
              <a:fillRef idx="0">
                <a:schemeClr val="accent1"/>
              </a:fillRef>
              <a:effectRef idx="0">
                <a:schemeClr val="accent1"/>
              </a:effectRef>
              <a:fontRef idx="minor">
                <a:schemeClr val="tx1"/>
              </a:fontRef>
            </p:style>
          </p:cxnSp>
        </p:grpSp>
        <p:sp>
          <p:nvSpPr>
            <p:cNvPr id="302" name="TextBox 301">
              <a:extLst>
                <a:ext uri="{FF2B5EF4-FFF2-40B4-BE49-F238E27FC236}">
                  <a16:creationId xmlns:a16="http://schemas.microsoft.com/office/drawing/2014/main" id="{0CE1EDF0-C3AB-4039-8492-DFA3CA8DD763}"/>
                </a:ext>
              </a:extLst>
            </p:cNvPr>
            <p:cNvSpPr txBox="1"/>
            <p:nvPr/>
          </p:nvSpPr>
          <p:spPr>
            <a:xfrm>
              <a:off x="8382691" y="979451"/>
              <a:ext cx="151288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8361"/>
                  </a:solidFill>
                  <a:effectLst/>
                  <a:uLnTx/>
                  <a:uFillTx/>
                  <a:latin typeface="Arial" panose="020B0604020202020204"/>
                  <a:ea typeface="+mn-ea"/>
                  <a:cs typeface="+mn-cs"/>
                </a:rPr>
                <a:t>Patients with no CNS </a:t>
              </a:r>
              <a:r>
                <a:rPr kumimoji="0" lang="en-US" sz="700" b="0" i="0" u="none" strike="noStrike" kern="1200" cap="none" spc="0" normalizeH="0" baseline="0" noProof="0" err="1">
                  <a:ln>
                    <a:noFill/>
                  </a:ln>
                  <a:solidFill>
                    <a:srgbClr val="008361"/>
                  </a:solidFill>
                  <a:effectLst/>
                  <a:uLnTx/>
                  <a:uFillTx/>
                  <a:latin typeface="Arial" panose="020B0604020202020204"/>
                  <a:ea typeface="+mn-ea"/>
                  <a:cs typeface="+mn-cs"/>
                </a:rPr>
                <a:t>mets</a:t>
              </a:r>
              <a:endParaRPr kumimoji="0" lang="en-US" sz="700" b="0" i="0" u="none" strike="noStrike" kern="1200" cap="none" spc="0" normalizeH="0" baseline="0" noProof="0">
                <a:ln>
                  <a:noFill/>
                </a:ln>
                <a:solidFill>
                  <a:srgbClr val="00836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03661"/>
                  </a:solidFill>
                  <a:effectLst/>
                  <a:uLnTx/>
                  <a:uFillTx/>
                  <a:latin typeface="Arial" panose="020B0604020202020204"/>
                  <a:ea typeface="+mn-ea"/>
                  <a:cs typeface="+mn-cs"/>
                </a:rPr>
                <a:t>Patients with CNS </a:t>
              </a:r>
              <a:r>
                <a:rPr kumimoji="0" lang="en-US" sz="700" b="0" i="0" u="none" strike="noStrike" kern="1200" cap="none" spc="0" normalizeH="0" baseline="0" noProof="0" err="1">
                  <a:ln>
                    <a:noFill/>
                  </a:ln>
                  <a:solidFill>
                    <a:srgbClr val="203661"/>
                  </a:solidFill>
                  <a:effectLst/>
                  <a:uLnTx/>
                  <a:uFillTx/>
                  <a:latin typeface="Arial" panose="020B0604020202020204"/>
                  <a:ea typeface="+mn-ea"/>
                  <a:cs typeface="+mn-cs"/>
                </a:rPr>
                <a:t>mets</a:t>
              </a:r>
              <a:r>
                <a:rPr kumimoji="0" lang="en-US" sz="700" b="0" i="0" u="none" strike="noStrike" kern="1200" cap="none" spc="0" normalizeH="0" baseline="0" noProof="0">
                  <a:ln>
                    <a:noFill/>
                  </a:ln>
                  <a:solidFill>
                    <a:srgbClr val="203661"/>
                  </a:solidFill>
                  <a:effectLst/>
                  <a:uLnTx/>
                  <a:uFillTx/>
                  <a:latin typeface="Arial" panose="020B0604020202020204"/>
                  <a:ea typeface="+mn-ea"/>
                  <a:cs typeface="+mn-cs"/>
                </a:rPr>
                <a:t> </a:t>
              </a:r>
            </a:p>
          </p:txBody>
        </p:sp>
        <p:grpSp>
          <p:nvGrpSpPr>
            <p:cNvPr id="303" name="Group 302">
              <a:extLst>
                <a:ext uri="{FF2B5EF4-FFF2-40B4-BE49-F238E27FC236}">
                  <a16:creationId xmlns:a16="http://schemas.microsoft.com/office/drawing/2014/main" id="{52BC1B8F-B9C8-4354-A8C3-6EC1C49DDE1A}"/>
                </a:ext>
              </a:extLst>
            </p:cNvPr>
            <p:cNvGrpSpPr/>
            <p:nvPr/>
          </p:nvGrpSpPr>
          <p:grpSpPr>
            <a:xfrm>
              <a:off x="6753040" y="1298004"/>
              <a:ext cx="2445823" cy="836295"/>
              <a:chOff x="3725672" y="326144"/>
              <a:chExt cx="2423160" cy="836295"/>
            </a:xfrm>
          </p:grpSpPr>
          <p:sp>
            <p:nvSpPr>
              <p:cNvPr id="314" name="Freeform: Shape 313">
                <a:extLst>
                  <a:ext uri="{FF2B5EF4-FFF2-40B4-BE49-F238E27FC236}">
                    <a16:creationId xmlns:a16="http://schemas.microsoft.com/office/drawing/2014/main" id="{45002171-CD0E-42D1-9E53-A4BACCF6C04F}"/>
                  </a:ext>
                </a:extLst>
              </p:cNvPr>
              <p:cNvSpPr/>
              <p:nvPr/>
            </p:nvSpPr>
            <p:spPr>
              <a:xfrm>
                <a:off x="3725672" y="326144"/>
                <a:ext cx="2423160" cy="805180"/>
              </a:xfrm>
              <a:custGeom>
                <a:avLst/>
                <a:gdLst>
                  <a:gd name="connsiteX0" fmla="*/ 0 w 2423160"/>
                  <a:gd name="connsiteY0" fmla="*/ 0 h 805180"/>
                  <a:gd name="connsiteX1" fmla="*/ 72390 w 2423160"/>
                  <a:gd name="connsiteY1" fmla="*/ 0 h 805180"/>
                  <a:gd name="connsiteX2" fmla="*/ 72390 w 2423160"/>
                  <a:gd name="connsiteY2" fmla="*/ 15240 h 805180"/>
                  <a:gd name="connsiteX3" fmla="*/ 104140 w 2423160"/>
                  <a:gd name="connsiteY3" fmla="*/ 15240 h 805180"/>
                  <a:gd name="connsiteX4" fmla="*/ 104140 w 2423160"/>
                  <a:gd name="connsiteY4" fmla="*/ 35560 h 805180"/>
                  <a:gd name="connsiteX5" fmla="*/ 151130 w 2423160"/>
                  <a:gd name="connsiteY5" fmla="*/ 35560 h 805180"/>
                  <a:gd name="connsiteX6" fmla="*/ 151130 w 2423160"/>
                  <a:gd name="connsiteY6" fmla="*/ 59690 h 805180"/>
                  <a:gd name="connsiteX7" fmla="*/ 231140 w 2423160"/>
                  <a:gd name="connsiteY7" fmla="*/ 59690 h 805180"/>
                  <a:gd name="connsiteX8" fmla="*/ 231140 w 2423160"/>
                  <a:gd name="connsiteY8" fmla="*/ 71120 h 805180"/>
                  <a:gd name="connsiteX9" fmla="*/ 313690 w 2423160"/>
                  <a:gd name="connsiteY9" fmla="*/ 71120 h 805180"/>
                  <a:gd name="connsiteX10" fmla="*/ 313690 w 2423160"/>
                  <a:gd name="connsiteY10" fmla="*/ 93980 h 805180"/>
                  <a:gd name="connsiteX11" fmla="*/ 320040 w 2423160"/>
                  <a:gd name="connsiteY11" fmla="*/ 100330 h 805180"/>
                  <a:gd name="connsiteX12" fmla="*/ 320040 w 2423160"/>
                  <a:gd name="connsiteY12" fmla="*/ 140970 h 805180"/>
                  <a:gd name="connsiteX13" fmla="*/ 350520 w 2423160"/>
                  <a:gd name="connsiteY13" fmla="*/ 143510 h 805180"/>
                  <a:gd name="connsiteX14" fmla="*/ 350520 w 2423160"/>
                  <a:gd name="connsiteY14" fmla="*/ 194310 h 805180"/>
                  <a:gd name="connsiteX15" fmla="*/ 387350 w 2423160"/>
                  <a:gd name="connsiteY15" fmla="*/ 194310 h 805180"/>
                  <a:gd name="connsiteX16" fmla="*/ 387350 w 2423160"/>
                  <a:gd name="connsiteY16" fmla="*/ 207010 h 805180"/>
                  <a:gd name="connsiteX17" fmla="*/ 464820 w 2423160"/>
                  <a:gd name="connsiteY17" fmla="*/ 207010 h 805180"/>
                  <a:gd name="connsiteX18" fmla="*/ 464820 w 2423160"/>
                  <a:gd name="connsiteY18" fmla="*/ 266700 h 805180"/>
                  <a:gd name="connsiteX19" fmla="*/ 525780 w 2423160"/>
                  <a:gd name="connsiteY19" fmla="*/ 266700 h 805180"/>
                  <a:gd name="connsiteX20" fmla="*/ 525780 w 2423160"/>
                  <a:gd name="connsiteY20" fmla="*/ 337820 h 805180"/>
                  <a:gd name="connsiteX21" fmla="*/ 535940 w 2423160"/>
                  <a:gd name="connsiteY21" fmla="*/ 337820 h 805180"/>
                  <a:gd name="connsiteX22" fmla="*/ 535940 w 2423160"/>
                  <a:gd name="connsiteY22" fmla="*/ 359410 h 805180"/>
                  <a:gd name="connsiteX23" fmla="*/ 544830 w 2423160"/>
                  <a:gd name="connsiteY23" fmla="*/ 368300 h 805180"/>
                  <a:gd name="connsiteX24" fmla="*/ 544830 w 2423160"/>
                  <a:gd name="connsiteY24" fmla="*/ 389890 h 805180"/>
                  <a:gd name="connsiteX25" fmla="*/ 554990 w 2423160"/>
                  <a:gd name="connsiteY25" fmla="*/ 389890 h 805180"/>
                  <a:gd name="connsiteX26" fmla="*/ 554990 w 2423160"/>
                  <a:gd name="connsiteY26" fmla="*/ 408940 h 805180"/>
                  <a:gd name="connsiteX27" fmla="*/ 612140 w 2423160"/>
                  <a:gd name="connsiteY27" fmla="*/ 408940 h 805180"/>
                  <a:gd name="connsiteX28" fmla="*/ 612140 w 2423160"/>
                  <a:gd name="connsiteY28" fmla="*/ 427990 h 805180"/>
                  <a:gd name="connsiteX29" fmla="*/ 642620 w 2423160"/>
                  <a:gd name="connsiteY29" fmla="*/ 427990 h 805180"/>
                  <a:gd name="connsiteX30" fmla="*/ 642620 w 2423160"/>
                  <a:gd name="connsiteY30" fmla="*/ 450850 h 805180"/>
                  <a:gd name="connsiteX31" fmla="*/ 671830 w 2423160"/>
                  <a:gd name="connsiteY31" fmla="*/ 450850 h 805180"/>
                  <a:gd name="connsiteX32" fmla="*/ 671830 w 2423160"/>
                  <a:gd name="connsiteY32" fmla="*/ 473710 h 805180"/>
                  <a:gd name="connsiteX33" fmla="*/ 731520 w 2423160"/>
                  <a:gd name="connsiteY33" fmla="*/ 473710 h 805180"/>
                  <a:gd name="connsiteX34" fmla="*/ 731520 w 2423160"/>
                  <a:gd name="connsiteY34" fmla="*/ 502920 h 805180"/>
                  <a:gd name="connsiteX35" fmla="*/ 774700 w 2423160"/>
                  <a:gd name="connsiteY35" fmla="*/ 502920 h 805180"/>
                  <a:gd name="connsiteX36" fmla="*/ 783590 w 2423160"/>
                  <a:gd name="connsiteY36" fmla="*/ 511810 h 805180"/>
                  <a:gd name="connsiteX37" fmla="*/ 833120 w 2423160"/>
                  <a:gd name="connsiteY37" fmla="*/ 511810 h 805180"/>
                  <a:gd name="connsiteX38" fmla="*/ 833120 w 2423160"/>
                  <a:gd name="connsiteY38" fmla="*/ 534670 h 805180"/>
                  <a:gd name="connsiteX39" fmla="*/ 902970 w 2423160"/>
                  <a:gd name="connsiteY39" fmla="*/ 534670 h 805180"/>
                  <a:gd name="connsiteX40" fmla="*/ 919480 w 2423160"/>
                  <a:gd name="connsiteY40" fmla="*/ 551180 h 805180"/>
                  <a:gd name="connsiteX41" fmla="*/ 1093470 w 2423160"/>
                  <a:gd name="connsiteY41" fmla="*/ 551180 h 805180"/>
                  <a:gd name="connsiteX42" fmla="*/ 1093470 w 2423160"/>
                  <a:gd name="connsiteY42" fmla="*/ 598170 h 805180"/>
                  <a:gd name="connsiteX43" fmla="*/ 1116330 w 2423160"/>
                  <a:gd name="connsiteY43" fmla="*/ 598170 h 805180"/>
                  <a:gd name="connsiteX44" fmla="*/ 1116330 w 2423160"/>
                  <a:gd name="connsiteY44" fmla="*/ 621030 h 805180"/>
                  <a:gd name="connsiteX45" fmla="*/ 1104900 w 2423160"/>
                  <a:gd name="connsiteY45" fmla="*/ 619760 h 805180"/>
                  <a:gd name="connsiteX46" fmla="*/ 1210310 w 2423160"/>
                  <a:gd name="connsiteY46" fmla="*/ 619760 h 805180"/>
                  <a:gd name="connsiteX47" fmla="*/ 1210310 w 2423160"/>
                  <a:gd name="connsiteY47" fmla="*/ 632460 h 805180"/>
                  <a:gd name="connsiteX48" fmla="*/ 1262380 w 2423160"/>
                  <a:gd name="connsiteY48" fmla="*/ 632460 h 805180"/>
                  <a:gd name="connsiteX49" fmla="*/ 1262380 w 2423160"/>
                  <a:gd name="connsiteY49" fmla="*/ 651510 h 805180"/>
                  <a:gd name="connsiteX50" fmla="*/ 1369060 w 2423160"/>
                  <a:gd name="connsiteY50" fmla="*/ 651510 h 805180"/>
                  <a:gd name="connsiteX51" fmla="*/ 1369060 w 2423160"/>
                  <a:gd name="connsiteY51" fmla="*/ 673100 h 805180"/>
                  <a:gd name="connsiteX52" fmla="*/ 1447800 w 2423160"/>
                  <a:gd name="connsiteY52" fmla="*/ 673100 h 805180"/>
                  <a:gd name="connsiteX53" fmla="*/ 1451610 w 2423160"/>
                  <a:gd name="connsiteY53" fmla="*/ 661670 h 805180"/>
                  <a:gd name="connsiteX54" fmla="*/ 1451610 w 2423160"/>
                  <a:gd name="connsiteY54" fmla="*/ 690880 h 805180"/>
                  <a:gd name="connsiteX55" fmla="*/ 1489710 w 2423160"/>
                  <a:gd name="connsiteY55" fmla="*/ 690880 h 805180"/>
                  <a:gd name="connsiteX56" fmla="*/ 1489710 w 2423160"/>
                  <a:gd name="connsiteY56" fmla="*/ 707390 h 805180"/>
                  <a:gd name="connsiteX57" fmla="*/ 1550670 w 2423160"/>
                  <a:gd name="connsiteY57" fmla="*/ 707390 h 805180"/>
                  <a:gd name="connsiteX58" fmla="*/ 1550670 w 2423160"/>
                  <a:gd name="connsiteY58" fmla="*/ 735330 h 805180"/>
                  <a:gd name="connsiteX59" fmla="*/ 2156460 w 2423160"/>
                  <a:gd name="connsiteY59" fmla="*/ 735330 h 805180"/>
                  <a:gd name="connsiteX60" fmla="*/ 2162810 w 2423160"/>
                  <a:gd name="connsiteY60" fmla="*/ 746760 h 805180"/>
                  <a:gd name="connsiteX61" fmla="*/ 2162810 w 2423160"/>
                  <a:gd name="connsiteY61" fmla="*/ 805180 h 805180"/>
                  <a:gd name="connsiteX62" fmla="*/ 2423160 w 2423160"/>
                  <a:gd name="connsiteY62" fmla="*/ 805180 h 805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423160" h="805180">
                    <a:moveTo>
                      <a:pt x="0" y="0"/>
                    </a:moveTo>
                    <a:lnTo>
                      <a:pt x="72390" y="0"/>
                    </a:lnTo>
                    <a:lnTo>
                      <a:pt x="72390" y="15240"/>
                    </a:lnTo>
                    <a:lnTo>
                      <a:pt x="104140" y="15240"/>
                    </a:lnTo>
                    <a:lnTo>
                      <a:pt x="104140" y="35560"/>
                    </a:lnTo>
                    <a:lnTo>
                      <a:pt x="151130" y="35560"/>
                    </a:lnTo>
                    <a:lnTo>
                      <a:pt x="151130" y="59690"/>
                    </a:lnTo>
                    <a:lnTo>
                      <a:pt x="231140" y="59690"/>
                    </a:lnTo>
                    <a:lnTo>
                      <a:pt x="231140" y="71120"/>
                    </a:lnTo>
                    <a:lnTo>
                      <a:pt x="313690" y="71120"/>
                    </a:lnTo>
                    <a:lnTo>
                      <a:pt x="313690" y="93980"/>
                    </a:lnTo>
                    <a:lnTo>
                      <a:pt x="320040" y="100330"/>
                    </a:lnTo>
                    <a:lnTo>
                      <a:pt x="320040" y="140970"/>
                    </a:lnTo>
                    <a:lnTo>
                      <a:pt x="350520" y="143510"/>
                    </a:lnTo>
                    <a:lnTo>
                      <a:pt x="350520" y="194310"/>
                    </a:lnTo>
                    <a:lnTo>
                      <a:pt x="387350" y="194310"/>
                    </a:lnTo>
                    <a:lnTo>
                      <a:pt x="387350" y="207010"/>
                    </a:lnTo>
                    <a:lnTo>
                      <a:pt x="464820" y="207010"/>
                    </a:lnTo>
                    <a:lnTo>
                      <a:pt x="464820" y="266700"/>
                    </a:lnTo>
                    <a:lnTo>
                      <a:pt x="525780" y="266700"/>
                    </a:lnTo>
                    <a:lnTo>
                      <a:pt x="525780" y="337820"/>
                    </a:lnTo>
                    <a:lnTo>
                      <a:pt x="535940" y="337820"/>
                    </a:lnTo>
                    <a:lnTo>
                      <a:pt x="535940" y="359410"/>
                    </a:lnTo>
                    <a:lnTo>
                      <a:pt x="544830" y="368300"/>
                    </a:lnTo>
                    <a:lnTo>
                      <a:pt x="544830" y="389890"/>
                    </a:lnTo>
                    <a:lnTo>
                      <a:pt x="554990" y="389890"/>
                    </a:lnTo>
                    <a:lnTo>
                      <a:pt x="554990" y="408940"/>
                    </a:lnTo>
                    <a:lnTo>
                      <a:pt x="612140" y="408940"/>
                    </a:lnTo>
                    <a:lnTo>
                      <a:pt x="612140" y="427990"/>
                    </a:lnTo>
                    <a:lnTo>
                      <a:pt x="642620" y="427990"/>
                    </a:lnTo>
                    <a:lnTo>
                      <a:pt x="642620" y="450850"/>
                    </a:lnTo>
                    <a:lnTo>
                      <a:pt x="671830" y="450850"/>
                    </a:lnTo>
                    <a:lnTo>
                      <a:pt x="671830" y="473710"/>
                    </a:lnTo>
                    <a:lnTo>
                      <a:pt x="731520" y="473710"/>
                    </a:lnTo>
                    <a:lnTo>
                      <a:pt x="731520" y="502920"/>
                    </a:lnTo>
                    <a:lnTo>
                      <a:pt x="774700" y="502920"/>
                    </a:lnTo>
                    <a:lnTo>
                      <a:pt x="783590" y="511810"/>
                    </a:lnTo>
                    <a:lnTo>
                      <a:pt x="833120" y="511810"/>
                    </a:lnTo>
                    <a:lnTo>
                      <a:pt x="833120" y="534670"/>
                    </a:lnTo>
                    <a:lnTo>
                      <a:pt x="902970" y="534670"/>
                    </a:lnTo>
                    <a:lnTo>
                      <a:pt x="919480" y="551180"/>
                    </a:lnTo>
                    <a:lnTo>
                      <a:pt x="1093470" y="551180"/>
                    </a:lnTo>
                    <a:lnTo>
                      <a:pt x="1093470" y="598170"/>
                    </a:lnTo>
                    <a:lnTo>
                      <a:pt x="1116330" y="598170"/>
                    </a:lnTo>
                    <a:lnTo>
                      <a:pt x="1116330" y="621030"/>
                    </a:lnTo>
                    <a:lnTo>
                      <a:pt x="1104900" y="619760"/>
                    </a:lnTo>
                    <a:lnTo>
                      <a:pt x="1210310" y="619760"/>
                    </a:lnTo>
                    <a:lnTo>
                      <a:pt x="1210310" y="632460"/>
                    </a:lnTo>
                    <a:lnTo>
                      <a:pt x="1262380" y="632460"/>
                    </a:lnTo>
                    <a:lnTo>
                      <a:pt x="1262380" y="651510"/>
                    </a:lnTo>
                    <a:lnTo>
                      <a:pt x="1369060" y="651510"/>
                    </a:lnTo>
                    <a:lnTo>
                      <a:pt x="1369060" y="673100"/>
                    </a:lnTo>
                    <a:lnTo>
                      <a:pt x="1447800" y="673100"/>
                    </a:lnTo>
                    <a:cubicBezTo>
                      <a:pt x="1449164" y="659458"/>
                      <a:pt x="1445265" y="658497"/>
                      <a:pt x="1451610" y="661670"/>
                    </a:cubicBezTo>
                    <a:lnTo>
                      <a:pt x="1451610" y="690880"/>
                    </a:lnTo>
                    <a:lnTo>
                      <a:pt x="1489710" y="690880"/>
                    </a:lnTo>
                    <a:lnTo>
                      <a:pt x="1489710" y="707390"/>
                    </a:lnTo>
                    <a:lnTo>
                      <a:pt x="1550670" y="707390"/>
                    </a:lnTo>
                    <a:lnTo>
                      <a:pt x="1550670" y="735330"/>
                    </a:lnTo>
                    <a:lnTo>
                      <a:pt x="2156460" y="735330"/>
                    </a:lnTo>
                    <a:cubicBezTo>
                      <a:pt x="2161808" y="746025"/>
                      <a:pt x="2158863" y="742813"/>
                      <a:pt x="2162810" y="746760"/>
                    </a:cubicBezTo>
                    <a:lnTo>
                      <a:pt x="2162810" y="805180"/>
                    </a:lnTo>
                    <a:lnTo>
                      <a:pt x="2423160" y="805180"/>
                    </a:lnTo>
                  </a:path>
                </a:pathLst>
              </a:custGeom>
              <a:noFill/>
              <a:ln w="9525">
                <a:solidFill>
                  <a:srgbClr val="0083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15" name="Straight Connector 314">
                <a:extLst>
                  <a:ext uri="{FF2B5EF4-FFF2-40B4-BE49-F238E27FC236}">
                    <a16:creationId xmlns:a16="http://schemas.microsoft.com/office/drawing/2014/main" id="{AA8E18B0-69FF-4398-93E7-D44031D056BC}"/>
                  </a:ext>
                </a:extLst>
              </p:cNvPr>
              <p:cNvCxnSpPr/>
              <p:nvPr/>
            </p:nvCxnSpPr>
            <p:spPr>
              <a:xfrm>
                <a:off x="5819585" y="1026867"/>
                <a:ext cx="0" cy="6223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92A8AA0C-2439-408E-9580-80385A55D572}"/>
                  </a:ext>
                </a:extLst>
              </p:cNvPr>
              <p:cNvCxnSpPr/>
              <p:nvPr/>
            </p:nvCxnSpPr>
            <p:spPr>
              <a:xfrm>
                <a:off x="6116765" y="1100209"/>
                <a:ext cx="0" cy="6223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B4AA87CF-548B-4F83-98BC-0A4DBD7920E9}"/>
                  </a:ext>
                </a:extLst>
              </p:cNvPr>
              <p:cNvCxnSpPr/>
              <p:nvPr/>
            </p:nvCxnSpPr>
            <p:spPr>
              <a:xfrm>
                <a:off x="5631943" y="1026867"/>
                <a:ext cx="0" cy="6223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0C1A9E71-EEA1-4C4D-8E7F-A92B0062CFC8}"/>
                  </a:ext>
                </a:extLst>
              </p:cNvPr>
              <p:cNvCxnSpPr/>
              <p:nvPr/>
            </p:nvCxnSpPr>
            <p:spPr>
              <a:xfrm>
                <a:off x="5421440" y="1026867"/>
                <a:ext cx="0" cy="6223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1FC3CBE6-2EF7-4EA2-8527-D561DE3C031D}"/>
                  </a:ext>
                </a:extLst>
              </p:cNvPr>
              <p:cNvCxnSpPr/>
              <p:nvPr/>
            </p:nvCxnSpPr>
            <p:spPr>
              <a:xfrm>
                <a:off x="5365243" y="1026867"/>
                <a:ext cx="0" cy="6223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5CA9F253-C6F1-4221-AE4E-7E1BA04A30BC}"/>
                  </a:ext>
                </a:extLst>
              </p:cNvPr>
              <p:cNvCxnSpPr/>
              <p:nvPr/>
            </p:nvCxnSpPr>
            <p:spPr>
              <a:xfrm>
                <a:off x="4954716" y="923112"/>
                <a:ext cx="0" cy="6223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F662003B-3AF1-477E-92E5-CCE07F5B16A7}"/>
                  </a:ext>
                </a:extLst>
              </p:cNvPr>
              <p:cNvCxnSpPr/>
              <p:nvPr/>
            </p:nvCxnSpPr>
            <p:spPr>
              <a:xfrm>
                <a:off x="5226178" y="1002170"/>
                <a:ext cx="0" cy="6223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FC5FFE7C-C996-4AE7-BA32-005086C8323E}"/>
                  </a:ext>
                </a:extLst>
              </p:cNvPr>
              <p:cNvCxnSpPr/>
              <p:nvPr/>
            </p:nvCxnSpPr>
            <p:spPr>
              <a:xfrm>
                <a:off x="5254753" y="1002170"/>
                <a:ext cx="0" cy="6223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EE23573F-FA6A-4436-A5E4-1DA5054454E6}"/>
                  </a:ext>
                </a:extLst>
              </p:cNvPr>
              <p:cNvCxnSpPr/>
              <p:nvPr/>
            </p:nvCxnSpPr>
            <p:spPr>
              <a:xfrm>
                <a:off x="4926140" y="913655"/>
                <a:ext cx="0" cy="6223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07B2C8B6-7006-4963-B12E-5B62DEDAC1BF}"/>
                  </a:ext>
                </a:extLst>
              </p:cNvPr>
              <p:cNvCxnSpPr/>
              <p:nvPr/>
            </p:nvCxnSpPr>
            <p:spPr>
              <a:xfrm>
                <a:off x="4616577" y="823168"/>
                <a:ext cx="0" cy="6223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2F13B38F-4C89-4A10-ADB6-9C3320E1FEDD}"/>
                  </a:ext>
                </a:extLst>
              </p:cNvPr>
              <p:cNvCxnSpPr/>
              <p:nvPr/>
            </p:nvCxnSpPr>
            <p:spPr>
              <a:xfrm>
                <a:off x="4563237" y="827930"/>
                <a:ext cx="0" cy="6223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AB82661D-772A-4577-AF18-9FA2A4274BE1}"/>
                  </a:ext>
                </a:extLst>
              </p:cNvPr>
              <p:cNvCxnSpPr/>
              <p:nvPr/>
            </p:nvCxnSpPr>
            <p:spPr>
              <a:xfrm>
                <a:off x="4226052" y="565992"/>
                <a:ext cx="0" cy="6223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2584002D-2471-4B2C-B8CF-B6BFFB1DA9A7}"/>
                  </a:ext>
                </a:extLst>
              </p:cNvPr>
              <p:cNvCxnSpPr/>
              <p:nvPr/>
            </p:nvCxnSpPr>
            <p:spPr>
              <a:xfrm>
                <a:off x="4189857" y="555514"/>
                <a:ext cx="0" cy="6223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grpSp>
        <p:grpSp>
          <p:nvGrpSpPr>
            <p:cNvPr id="304" name="Group 303">
              <a:extLst>
                <a:ext uri="{FF2B5EF4-FFF2-40B4-BE49-F238E27FC236}">
                  <a16:creationId xmlns:a16="http://schemas.microsoft.com/office/drawing/2014/main" id="{4A060D46-B451-494E-8E0E-45E69E5487A3}"/>
                </a:ext>
              </a:extLst>
            </p:cNvPr>
            <p:cNvGrpSpPr/>
            <p:nvPr/>
          </p:nvGrpSpPr>
          <p:grpSpPr>
            <a:xfrm>
              <a:off x="6775815" y="1294852"/>
              <a:ext cx="1370330" cy="878840"/>
              <a:chOff x="2179320" y="1371800"/>
              <a:chExt cx="1370330" cy="878840"/>
            </a:xfrm>
          </p:grpSpPr>
          <p:sp>
            <p:nvSpPr>
              <p:cNvPr id="307" name="Freeform: Shape 306">
                <a:extLst>
                  <a:ext uri="{FF2B5EF4-FFF2-40B4-BE49-F238E27FC236}">
                    <a16:creationId xmlns:a16="http://schemas.microsoft.com/office/drawing/2014/main" id="{B95D0385-DC3D-43DB-949A-BC7A3DC64F7A}"/>
                  </a:ext>
                </a:extLst>
              </p:cNvPr>
              <p:cNvSpPr/>
              <p:nvPr/>
            </p:nvSpPr>
            <p:spPr>
              <a:xfrm>
                <a:off x="2179320" y="1371800"/>
                <a:ext cx="1370330" cy="878840"/>
              </a:xfrm>
              <a:custGeom>
                <a:avLst/>
                <a:gdLst>
                  <a:gd name="connsiteX0" fmla="*/ 0 w 1370330"/>
                  <a:gd name="connsiteY0" fmla="*/ 0 h 878840"/>
                  <a:gd name="connsiteX1" fmla="*/ 50800 w 1370330"/>
                  <a:gd name="connsiteY1" fmla="*/ 0 h 878840"/>
                  <a:gd name="connsiteX2" fmla="*/ 50800 w 1370330"/>
                  <a:gd name="connsiteY2" fmla="*/ 34290 h 878840"/>
                  <a:gd name="connsiteX3" fmla="*/ 162560 w 1370330"/>
                  <a:gd name="connsiteY3" fmla="*/ 34290 h 878840"/>
                  <a:gd name="connsiteX4" fmla="*/ 162560 w 1370330"/>
                  <a:gd name="connsiteY4" fmla="*/ 59690 h 878840"/>
                  <a:gd name="connsiteX5" fmla="*/ 248920 w 1370330"/>
                  <a:gd name="connsiteY5" fmla="*/ 59690 h 878840"/>
                  <a:gd name="connsiteX6" fmla="*/ 248920 w 1370330"/>
                  <a:gd name="connsiteY6" fmla="*/ 80010 h 878840"/>
                  <a:gd name="connsiteX7" fmla="*/ 276860 w 1370330"/>
                  <a:gd name="connsiteY7" fmla="*/ 80010 h 878840"/>
                  <a:gd name="connsiteX8" fmla="*/ 276860 w 1370330"/>
                  <a:gd name="connsiteY8" fmla="*/ 120650 h 878840"/>
                  <a:gd name="connsiteX9" fmla="*/ 320040 w 1370330"/>
                  <a:gd name="connsiteY9" fmla="*/ 120650 h 878840"/>
                  <a:gd name="connsiteX10" fmla="*/ 320040 w 1370330"/>
                  <a:gd name="connsiteY10" fmla="*/ 210820 h 878840"/>
                  <a:gd name="connsiteX11" fmla="*/ 349250 w 1370330"/>
                  <a:gd name="connsiteY11" fmla="*/ 210820 h 878840"/>
                  <a:gd name="connsiteX12" fmla="*/ 349250 w 1370330"/>
                  <a:gd name="connsiteY12" fmla="*/ 234950 h 878840"/>
                  <a:gd name="connsiteX13" fmla="*/ 387350 w 1370330"/>
                  <a:gd name="connsiteY13" fmla="*/ 234950 h 878840"/>
                  <a:gd name="connsiteX14" fmla="*/ 387350 w 1370330"/>
                  <a:gd name="connsiteY14" fmla="*/ 257810 h 878840"/>
                  <a:gd name="connsiteX15" fmla="*/ 410210 w 1370330"/>
                  <a:gd name="connsiteY15" fmla="*/ 257810 h 878840"/>
                  <a:gd name="connsiteX16" fmla="*/ 410210 w 1370330"/>
                  <a:gd name="connsiteY16" fmla="*/ 294640 h 878840"/>
                  <a:gd name="connsiteX17" fmla="*/ 410210 w 1370330"/>
                  <a:gd name="connsiteY17" fmla="*/ 321310 h 878840"/>
                  <a:gd name="connsiteX18" fmla="*/ 441960 w 1370330"/>
                  <a:gd name="connsiteY18" fmla="*/ 321310 h 878840"/>
                  <a:gd name="connsiteX19" fmla="*/ 441960 w 1370330"/>
                  <a:gd name="connsiteY19" fmla="*/ 341630 h 878840"/>
                  <a:gd name="connsiteX20" fmla="*/ 466090 w 1370330"/>
                  <a:gd name="connsiteY20" fmla="*/ 341630 h 878840"/>
                  <a:gd name="connsiteX21" fmla="*/ 466090 w 1370330"/>
                  <a:gd name="connsiteY21" fmla="*/ 369570 h 878840"/>
                  <a:gd name="connsiteX22" fmla="*/ 504190 w 1370330"/>
                  <a:gd name="connsiteY22" fmla="*/ 369570 h 878840"/>
                  <a:gd name="connsiteX23" fmla="*/ 504190 w 1370330"/>
                  <a:gd name="connsiteY23" fmla="*/ 407670 h 878840"/>
                  <a:gd name="connsiteX24" fmla="*/ 509270 w 1370330"/>
                  <a:gd name="connsiteY24" fmla="*/ 422910 h 878840"/>
                  <a:gd name="connsiteX25" fmla="*/ 586740 w 1370330"/>
                  <a:gd name="connsiteY25" fmla="*/ 422910 h 878840"/>
                  <a:gd name="connsiteX26" fmla="*/ 582930 w 1370330"/>
                  <a:gd name="connsiteY26" fmla="*/ 407670 h 878840"/>
                  <a:gd name="connsiteX27" fmla="*/ 582930 w 1370330"/>
                  <a:gd name="connsiteY27" fmla="*/ 433070 h 878840"/>
                  <a:gd name="connsiteX28" fmla="*/ 640080 w 1370330"/>
                  <a:gd name="connsiteY28" fmla="*/ 433070 h 878840"/>
                  <a:gd name="connsiteX29" fmla="*/ 640080 w 1370330"/>
                  <a:gd name="connsiteY29" fmla="*/ 472440 h 878840"/>
                  <a:gd name="connsiteX30" fmla="*/ 695960 w 1370330"/>
                  <a:gd name="connsiteY30" fmla="*/ 472440 h 878840"/>
                  <a:gd name="connsiteX31" fmla="*/ 695960 w 1370330"/>
                  <a:gd name="connsiteY31" fmla="*/ 516890 h 878840"/>
                  <a:gd name="connsiteX32" fmla="*/ 728980 w 1370330"/>
                  <a:gd name="connsiteY32" fmla="*/ 516890 h 878840"/>
                  <a:gd name="connsiteX33" fmla="*/ 728980 w 1370330"/>
                  <a:gd name="connsiteY33" fmla="*/ 535940 h 878840"/>
                  <a:gd name="connsiteX34" fmla="*/ 759460 w 1370330"/>
                  <a:gd name="connsiteY34" fmla="*/ 535940 h 878840"/>
                  <a:gd name="connsiteX35" fmla="*/ 759460 w 1370330"/>
                  <a:gd name="connsiteY35" fmla="*/ 572770 h 878840"/>
                  <a:gd name="connsiteX36" fmla="*/ 828040 w 1370330"/>
                  <a:gd name="connsiteY36" fmla="*/ 572770 h 878840"/>
                  <a:gd name="connsiteX37" fmla="*/ 828040 w 1370330"/>
                  <a:gd name="connsiteY37" fmla="*/ 609600 h 878840"/>
                  <a:gd name="connsiteX38" fmla="*/ 971550 w 1370330"/>
                  <a:gd name="connsiteY38" fmla="*/ 609600 h 878840"/>
                  <a:gd name="connsiteX39" fmla="*/ 971550 w 1370330"/>
                  <a:gd name="connsiteY39" fmla="*/ 654050 h 878840"/>
                  <a:gd name="connsiteX40" fmla="*/ 1046480 w 1370330"/>
                  <a:gd name="connsiteY40" fmla="*/ 654050 h 878840"/>
                  <a:gd name="connsiteX41" fmla="*/ 1046480 w 1370330"/>
                  <a:gd name="connsiteY41" fmla="*/ 701040 h 878840"/>
                  <a:gd name="connsiteX42" fmla="*/ 1068070 w 1370330"/>
                  <a:gd name="connsiteY42" fmla="*/ 701040 h 878840"/>
                  <a:gd name="connsiteX43" fmla="*/ 1068070 w 1370330"/>
                  <a:gd name="connsiteY43" fmla="*/ 740410 h 878840"/>
                  <a:gd name="connsiteX44" fmla="*/ 1130300 w 1370330"/>
                  <a:gd name="connsiteY44" fmla="*/ 740410 h 878840"/>
                  <a:gd name="connsiteX45" fmla="*/ 1130300 w 1370330"/>
                  <a:gd name="connsiteY45" fmla="*/ 829310 h 878840"/>
                  <a:gd name="connsiteX46" fmla="*/ 1370330 w 1370330"/>
                  <a:gd name="connsiteY46" fmla="*/ 829310 h 878840"/>
                  <a:gd name="connsiteX47" fmla="*/ 1370330 w 1370330"/>
                  <a:gd name="connsiteY47" fmla="*/ 878840 h 87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370330" h="878840">
                    <a:moveTo>
                      <a:pt x="0" y="0"/>
                    </a:moveTo>
                    <a:lnTo>
                      <a:pt x="50800" y="0"/>
                    </a:lnTo>
                    <a:lnTo>
                      <a:pt x="50800" y="34290"/>
                    </a:lnTo>
                    <a:lnTo>
                      <a:pt x="162560" y="34290"/>
                    </a:lnTo>
                    <a:lnTo>
                      <a:pt x="162560" y="59690"/>
                    </a:lnTo>
                    <a:lnTo>
                      <a:pt x="248920" y="59690"/>
                    </a:lnTo>
                    <a:lnTo>
                      <a:pt x="248920" y="80010"/>
                    </a:lnTo>
                    <a:lnTo>
                      <a:pt x="276860" y="80010"/>
                    </a:lnTo>
                    <a:lnTo>
                      <a:pt x="276860" y="120650"/>
                    </a:lnTo>
                    <a:lnTo>
                      <a:pt x="320040" y="120650"/>
                    </a:lnTo>
                    <a:lnTo>
                      <a:pt x="320040" y="210820"/>
                    </a:lnTo>
                    <a:lnTo>
                      <a:pt x="349250" y="210820"/>
                    </a:lnTo>
                    <a:lnTo>
                      <a:pt x="349250" y="234950"/>
                    </a:lnTo>
                    <a:lnTo>
                      <a:pt x="387350" y="234950"/>
                    </a:lnTo>
                    <a:lnTo>
                      <a:pt x="387350" y="257810"/>
                    </a:lnTo>
                    <a:lnTo>
                      <a:pt x="410210" y="257810"/>
                    </a:lnTo>
                    <a:lnTo>
                      <a:pt x="410210" y="294640"/>
                    </a:lnTo>
                    <a:lnTo>
                      <a:pt x="410210" y="321310"/>
                    </a:lnTo>
                    <a:lnTo>
                      <a:pt x="441960" y="321310"/>
                    </a:lnTo>
                    <a:lnTo>
                      <a:pt x="441960" y="341630"/>
                    </a:lnTo>
                    <a:lnTo>
                      <a:pt x="466090" y="341630"/>
                    </a:lnTo>
                    <a:lnTo>
                      <a:pt x="466090" y="369570"/>
                    </a:lnTo>
                    <a:lnTo>
                      <a:pt x="504190" y="369570"/>
                    </a:lnTo>
                    <a:lnTo>
                      <a:pt x="504190" y="407670"/>
                    </a:lnTo>
                    <a:lnTo>
                      <a:pt x="509270" y="422910"/>
                    </a:lnTo>
                    <a:lnTo>
                      <a:pt x="586740" y="422910"/>
                    </a:lnTo>
                    <a:lnTo>
                      <a:pt x="582930" y="407670"/>
                    </a:lnTo>
                    <a:lnTo>
                      <a:pt x="582930" y="433070"/>
                    </a:lnTo>
                    <a:lnTo>
                      <a:pt x="640080" y="433070"/>
                    </a:lnTo>
                    <a:lnTo>
                      <a:pt x="640080" y="472440"/>
                    </a:lnTo>
                    <a:lnTo>
                      <a:pt x="695960" y="472440"/>
                    </a:lnTo>
                    <a:lnTo>
                      <a:pt x="695960" y="516890"/>
                    </a:lnTo>
                    <a:lnTo>
                      <a:pt x="728980" y="516890"/>
                    </a:lnTo>
                    <a:lnTo>
                      <a:pt x="728980" y="535940"/>
                    </a:lnTo>
                    <a:lnTo>
                      <a:pt x="759460" y="535940"/>
                    </a:lnTo>
                    <a:lnTo>
                      <a:pt x="759460" y="572770"/>
                    </a:lnTo>
                    <a:lnTo>
                      <a:pt x="828040" y="572770"/>
                    </a:lnTo>
                    <a:lnTo>
                      <a:pt x="828040" y="609600"/>
                    </a:lnTo>
                    <a:lnTo>
                      <a:pt x="971550" y="609600"/>
                    </a:lnTo>
                    <a:lnTo>
                      <a:pt x="971550" y="654050"/>
                    </a:lnTo>
                    <a:lnTo>
                      <a:pt x="1046480" y="654050"/>
                    </a:lnTo>
                    <a:lnTo>
                      <a:pt x="1046480" y="701040"/>
                    </a:lnTo>
                    <a:lnTo>
                      <a:pt x="1068070" y="701040"/>
                    </a:lnTo>
                    <a:lnTo>
                      <a:pt x="1068070" y="740410"/>
                    </a:lnTo>
                    <a:lnTo>
                      <a:pt x="1130300" y="740410"/>
                    </a:lnTo>
                    <a:lnTo>
                      <a:pt x="1130300" y="829310"/>
                    </a:lnTo>
                    <a:lnTo>
                      <a:pt x="1370330" y="829310"/>
                    </a:lnTo>
                    <a:lnTo>
                      <a:pt x="1370330" y="878840"/>
                    </a:lnTo>
                  </a:path>
                </a:pathLst>
              </a:custGeom>
              <a:noFill/>
              <a:ln w="9525">
                <a:solidFill>
                  <a:srgbClr val="2036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08" name="Straight Connector 307">
                <a:extLst>
                  <a:ext uri="{FF2B5EF4-FFF2-40B4-BE49-F238E27FC236}">
                    <a16:creationId xmlns:a16="http://schemas.microsoft.com/office/drawing/2014/main" id="{7072E802-83D6-42CC-A3BC-81CC4C74E867}"/>
                  </a:ext>
                </a:extLst>
              </p:cNvPr>
              <p:cNvCxnSpPr>
                <a:cxnSpLocks/>
              </p:cNvCxnSpPr>
              <p:nvPr/>
            </p:nvCxnSpPr>
            <p:spPr>
              <a:xfrm>
                <a:off x="3128963" y="1950853"/>
                <a:ext cx="0" cy="54292"/>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731618FC-66C8-40A3-A627-6EB067A6432C}"/>
                  </a:ext>
                </a:extLst>
              </p:cNvPr>
              <p:cNvCxnSpPr>
                <a:cxnSpLocks/>
              </p:cNvCxnSpPr>
              <p:nvPr/>
            </p:nvCxnSpPr>
            <p:spPr>
              <a:xfrm>
                <a:off x="3108961" y="1950853"/>
                <a:ext cx="0" cy="54292"/>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9D163005-757C-4FF2-9C8B-C3DC870D6AB5}"/>
                  </a:ext>
                </a:extLst>
              </p:cNvPr>
              <p:cNvCxnSpPr>
                <a:cxnSpLocks/>
              </p:cNvCxnSpPr>
              <p:nvPr/>
            </p:nvCxnSpPr>
            <p:spPr>
              <a:xfrm flipH="1">
                <a:off x="2470786" y="1572909"/>
                <a:ext cx="44767" cy="0"/>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F1D2A7DF-02AE-4B45-9C9D-DB3A44F88DF7}"/>
                  </a:ext>
                </a:extLst>
              </p:cNvPr>
              <p:cNvCxnSpPr>
                <a:cxnSpLocks/>
              </p:cNvCxnSpPr>
              <p:nvPr/>
            </p:nvCxnSpPr>
            <p:spPr>
              <a:xfrm flipH="1">
                <a:off x="2589849" y="1715784"/>
                <a:ext cx="44767" cy="0"/>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ABE2221F-268F-404E-88CF-9ED3D8963526}"/>
                  </a:ext>
                </a:extLst>
              </p:cNvPr>
              <p:cNvCxnSpPr>
                <a:cxnSpLocks/>
              </p:cNvCxnSpPr>
              <p:nvPr/>
            </p:nvCxnSpPr>
            <p:spPr>
              <a:xfrm flipH="1">
                <a:off x="2615567" y="1741501"/>
                <a:ext cx="44767" cy="0"/>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6FB7740C-FB8B-409A-A4E5-C4BE86EE4D90}"/>
                  </a:ext>
                </a:extLst>
              </p:cNvPr>
              <p:cNvCxnSpPr>
                <a:cxnSpLocks/>
              </p:cNvCxnSpPr>
              <p:nvPr/>
            </p:nvCxnSpPr>
            <p:spPr>
              <a:xfrm>
                <a:off x="2650809" y="1723536"/>
                <a:ext cx="0" cy="54292"/>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grpSp>
        <p:sp>
          <p:nvSpPr>
            <p:cNvPr id="305" name="Freeform: Shape 304">
              <a:extLst>
                <a:ext uri="{FF2B5EF4-FFF2-40B4-BE49-F238E27FC236}">
                  <a16:creationId xmlns:a16="http://schemas.microsoft.com/office/drawing/2014/main" id="{92CA60DD-5157-4410-B3AC-D51CFD00B3CA}"/>
                </a:ext>
              </a:extLst>
            </p:cNvPr>
            <p:cNvSpPr/>
            <p:nvPr/>
          </p:nvSpPr>
          <p:spPr>
            <a:xfrm>
              <a:off x="7350588" y="1745786"/>
              <a:ext cx="57717" cy="427906"/>
            </a:xfrm>
            <a:custGeom>
              <a:avLst/>
              <a:gdLst>
                <a:gd name="connsiteX0" fmla="*/ 0 w 944880"/>
                <a:gd name="connsiteY0" fmla="*/ 0 h 668020"/>
                <a:gd name="connsiteX1" fmla="*/ 944880 w 944880"/>
                <a:gd name="connsiteY1" fmla="*/ 0 h 668020"/>
                <a:gd name="connsiteX2" fmla="*/ 944880 w 944880"/>
                <a:gd name="connsiteY2" fmla="*/ 668020 h 668020"/>
              </a:gdLst>
              <a:ahLst/>
              <a:cxnLst>
                <a:cxn ang="0">
                  <a:pos x="connsiteX0" y="connsiteY0"/>
                </a:cxn>
                <a:cxn ang="0">
                  <a:pos x="connsiteX1" y="connsiteY1"/>
                </a:cxn>
                <a:cxn ang="0">
                  <a:pos x="connsiteX2" y="connsiteY2"/>
                </a:cxn>
              </a:cxnLst>
              <a:rect l="l" t="t" r="r" b="b"/>
              <a:pathLst>
                <a:path w="944880" h="668020">
                  <a:moveTo>
                    <a:pt x="0" y="0"/>
                  </a:moveTo>
                  <a:lnTo>
                    <a:pt x="944880" y="0"/>
                  </a:lnTo>
                  <a:lnTo>
                    <a:pt x="944880" y="668020"/>
                  </a:lnTo>
                </a:path>
              </a:pathLst>
            </a:cu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6" name="Freeform: Shape 305">
              <a:extLst>
                <a:ext uri="{FF2B5EF4-FFF2-40B4-BE49-F238E27FC236}">
                  <a16:creationId xmlns:a16="http://schemas.microsoft.com/office/drawing/2014/main" id="{79AA3940-7251-4AD7-AB46-459987DB89D4}"/>
                </a:ext>
              </a:extLst>
            </p:cNvPr>
            <p:cNvSpPr/>
            <p:nvPr/>
          </p:nvSpPr>
          <p:spPr>
            <a:xfrm>
              <a:off x="6777751" y="1745786"/>
              <a:ext cx="572838" cy="427906"/>
            </a:xfrm>
            <a:custGeom>
              <a:avLst/>
              <a:gdLst>
                <a:gd name="connsiteX0" fmla="*/ 0 w 944880"/>
                <a:gd name="connsiteY0" fmla="*/ 0 h 668020"/>
                <a:gd name="connsiteX1" fmla="*/ 944880 w 944880"/>
                <a:gd name="connsiteY1" fmla="*/ 0 h 668020"/>
                <a:gd name="connsiteX2" fmla="*/ 944880 w 944880"/>
                <a:gd name="connsiteY2" fmla="*/ 668020 h 668020"/>
              </a:gdLst>
              <a:ahLst/>
              <a:cxnLst>
                <a:cxn ang="0">
                  <a:pos x="connsiteX0" y="connsiteY0"/>
                </a:cxn>
                <a:cxn ang="0">
                  <a:pos x="connsiteX1" y="connsiteY1"/>
                </a:cxn>
                <a:cxn ang="0">
                  <a:pos x="connsiteX2" y="connsiteY2"/>
                </a:cxn>
              </a:cxnLst>
              <a:rect l="l" t="t" r="r" b="b"/>
              <a:pathLst>
                <a:path w="944880" h="668020">
                  <a:moveTo>
                    <a:pt x="0" y="0"/>
                  </a:moveTo>
                  <a:lnTo>
                    <a:pt x="944880" y="0"/>
                  </a:lnTo>
                  <a:lnTo>
                    <a:pt x="944880" y="668020"/>
                  </a:lnTo>
                </a:path>
              </a:pathLst>
            </a:cu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342" name="Group 341">
            <a:extLst>
              <a:ext uri="{FF2B5EF4-FFF2-40B4-BE49-F238E27FC236}">
                <a16:creationId xmlns:a16="http://schemas.microsoft.com/office/drawing/2014/main" id="{D53D7F88-9CA0-4D87-BE37-A4A70080029D}"/>
              </a:ext>
            </a:extLst>
          </p:cNvPr>
          <p:cNvGrpSpPr/>
          <p:nvPr/>
        </p:nvGrpSpPr>
        <p:grpSpPr>
          <a:xfrm>
            <a:off x="340904" y="3700364"/>
            <a:ext cx="4271799" cy="1976860"/>
            <a:chOff x="5107360" y="3429000"/>
            <a:chExt cx="4271799" cy="1976860"/>
          </a:xfrm>
        </p:grpSpPr>
        <p:grpSp>
          <p:nvGrpSpPr>
            <p:cNvPr id="343" name="Group 342">
              <a:extLst>
                <a:ext uri="{FF2B5EF4-FFF2-40B4-BE49-F238E27FC236}">
                  <a16:creationId xmlns:a16="http://schemas.microsoft.com/office/drawing/2014/main" id="{E846C125-2BDA-429C-8533-0A440D27B2B0}"/>
                </a:ext>
              </a:extLst>
            </p:cNvPr>
            <p:cNvGrpSpPr/>
            <p:nvPr/>
          </p:nvGrpSpPr>
          <p:grpSpPr>
            <a:xfrm>
              <a:off x="6409480" y="3429000"/>
              <a:ext cx="2969679" cy="1866311"/>
              <a:chOff x="1804298" y="-451509"/>
              <a:chExt cx="2969679" cy="1866311"/>
            </a:xfrm>
          </p:grpSpPr>
          <p:graphicFrame>
            <p:nvGraphicFramePr>
              <p:cNvPr id="382" name="Chart 381">
                <a:extLst>
                  <a:ext uri="{FF2B5EF4-FFF2-40B4-BE49-F238E27FC236}">
                    <a16:creationId xmlns:a16="http://schemas.microsoft.com/office/drawing/2014/main" id="{3CB65651-01A1-4138-8C56-43730D96F72D}"/>
                  </a:ext>
                </a:extLst>
              </p:cNvPr>
              <p:cNvGraphicFramePr/>
              <p:nvPr/>
            </p:nvGraphicFramePr>
            <p:xfrm>
              <a:off x="1804298" y="-451509"/>
              <a:ext cx="2932294" cy="129387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83" name="Chart 382">
                <a:extLst>
                  <a:ext uri="{FF2B5EF4-FFF2-40B4-BE49-F238E27FC236}">
                    <a16:creationId xmlns:a16="http://schemas.microsoft.com/office/drawing/2014/main" id="{394BD916-233E-4F77-A893-62F47795D721}"/>
                  </a:ext>
                </a:extLst>
              </p:cNvPr>
              <p:cNvGraphicFramePr/>
              <p:nvPr/>
            </p:nvGraphicFramePr>
            <p:xfrm>
              <a:off x="1958015" y="876831"/>
              <a:ext cx="2815962" cy="537971"/>
            </p:xfrm>
            <a:graphic>
              <a:graphicData uri="http://schemas.openxmlformats.org/drawingml/2006/chart">
                <c:chart xmlns:c="http://schemas.openxmlformats.org/drawingml/2006/chart" xmlns:r="http://schemas.openxmlformats.org/officeDocument/2006/relationships" r:id="rId6"/>
              </a:graphicData>
            </a:graphic>
          </p:graphicFrame>
          <p:sp>
            <p:nvSpPr>
              <p:cNvPr id="384" name="TextBox 383">
                <a:extLst>
                  <a:ext uri="{FF2B5EF4-FFF2-40B4-BE49-F238E27FC236}">
                    <a16:creationId xmlns:a16="http://schemas.microsoft.com/office/drawing/2014/main" id="{9715A7DA-DC6A-464C-B11A-87AB8406FC57}"/>
                  </a:ext>
                </a:extLst>
              </p:cNvPr>
              <p:cNvSpPr txBox="1"/>
              <p:nvPr/>
            </p:nvSpPr>
            <p:spPr>
              <a:xfrm>
                <a:off x="1949605" y="1045788"/>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38</a:t>
                </a:r>
              </a:p>
            </p:txBody>
          </p:sp>
          <p:sp>
            <p:nvSpPr>
              <p:cNvPr id="385" name="TextBox 384">
                <a:extLst>
                  <a:ext uri="{FF2B5EF4-FFF2-40B4-BE49-F238E27FC236}">
                    <a16:creationId xmlns:a16="http://schemas.microsoft.com/office/drawing/2014/main" id="{19C4DC47-0407-4347-A36B-E43AEF3BEB63}"/>
                  </a:ext>
                </a:extLst>
              </p:cNvPr>
              <p:cNvSpPr txBox="1"/>
              <p:nvPr/>
            </p:nvSpPr>
            <p:spPr>
              <a:xfrm>
                <a:off x="1949605" y="945760"/>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65</a:t>
                </a:r>
              </a:p>
            </p:txBody>
          </p:sp>
          <p:sp>
            <p:nvSpPr>
              <p:cNvPr id="386" name="TextBox 385">
                <a:extLst>
                  <a:ext uri="{FF2B5EF4-FFF2-40B4-BE49-F238E27FC236}">
                    <a16:creationId xmlns:a16="http://schemas.microsoft.com/office/drawing/2014/main" id="{EA324DA8-9042-4F52-80C7-3A8821039086}"/>
                  </a:ext>
                </a:extLst>
              </p:cNvPr>
              <p:cNvSpPr txBox="1"/>
              <p:nvPr/>
            </p:nvSpPr>
            <p:spPr>
              <a:xfrm>
                <a:off x="2761761" y="1045788"/>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10</a:t>
                </a:r>
              </a:p>
            </p:txBody>
          </p:sp>
          <p:sp>
            <p:nvSpPr>
              <p:cNvPr id="387" name="TextBox 386">
                <a:extLst>
                  <a:ext uri="{FF2B5EF4-FFF2-40B4-BE49-F238E27FC236}">
                    <a16:creationId xmlns:a16="http://schemas.microsoft.com/office/drawing/2014/main" id="{AAC70986-8632-4B28-B308-080E1A184A56}"/>
                  </a:ext>
                </a:extLst>
              </p:cNvPr>
              <p:cNvSpPr txBox="1"/>
              <p:nvPr/>
            </p:nvSpPr>
            <p:spPr>
              <a:xfrm>
                <a:off x="2761761" y="945760"/>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23</a:t>
                </a:r>
              </a:p>
            </p:txBody>
          </p:sp>
          <p:sp>
            <p:nvSpPr>
              <p:cNvPr id="388" name="TextBox 387">
                <a:extLst>
                  <a:ext uri="{FF2B5EF4-FFF2-40B4-BE49-F238E27FC236}">
                    <a16:creationId xmlns:a16="http://schemas.microsoft.com/office/drawing/2014/main" id="{DBFC8712-A7C5-4DB7-8654-0DDF9109B540}"/>
                  </a:ext>
                </a:extLst>
              </p:cNvPr>
              <p:cNvSpPr txBox="1"/>
              <p:nvPr/>
            </p:nvSpPr>
            <p:spPr>
              <a:xfrm>
                <a:off x="3592609" y="1045788"/>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3</a:t>
                </a:r>
              </a:p>
            </p:txBody>
          </p:sp>
          <p:sp>
            <p:nvSpPr>
              <p:cNvPr id="389" name="TextBox 388">
                <a:extLst>
                  <a:ext uri="{FF2B5EF4-FFF2-40B4-BE49-F238E27FC236}">
                    <a16:creationId xmlns:a16="http://schemas.microsoft.com/office/drawing/2014/main" id="{CEC6E43E-2DCC-4E5A-957F-53849C1D4B57}"/>
                  </a:ext>
                </a:extLst>
              </p:cNvPr>
              <p:cNvSpPr txBox="1"/>
              <p:nvPr/>
            </p:nvSpPr>
            <p:spPr>
              <a:xfrm>
                <a:off x="3592609" y="945760"/>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3</a:t>
                </a:r>
              </a:p>
            </p:txBody>
          </p:sp>
          <p:sp>
            <p:nvSpPr>
              <p:cNvPr id="390" name="TextBox 389">
                <a:extLst>
                  <a:ext uri="{FF2B5EF4-FFF2-40B4-BE49-F238E27FC236}">
                    <a16:creationId xmlns:a16="http://schemas.microsoft.com/office/drawing/2014/main" id="{1672D77B-721C-47D7-82EE-406FC048C88B}"/>
                  </a:ext>
                </a:extLst>
              </p:cNvPr>
              <p:cNvSpPr txBox="1"/>
              <p:nvPr/>
            </p:nvSpPr>
            <p:spPr>
              <a:xfrm>
                <a:off x="4404765" y="1045788"/>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1</a:t>
                </a:r>
              </a:p>
            </p:txBody>
          </p:sp>
          <p:sp>
            <p:nvSpPr>
              <p:cNvPr id="391" name="TextBox 390">
                <a:extLst>
                  <a:ext uri="{FF2B5EF4-FFF2-40B4-BE49-F238E27FC236}">
                    <a16:creationId xmlns:a16="http://schemas.microsoft.com/office/drawing/2014/main" id="{34A4ED06-624F-4973-962A-389EFFD2FF2D}"/>
                  </a:ext>
                </a:extLst>
              </p:cNvPr>
              <p:cNvSpPr txBox="1"/>
              <p:nvPr/>
            </p:nvSpPr>
            <p:spPr>
              <a:xfrm>
                <a:off x="4404765" y="945760"/>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0</a:t>
                </a:r>
              </a:p>
            </p:txBody>
          </p:sp>
        </p:grpSp>
        <p:sp>
          <p:nvSpPr>
            <p:cNvPr id="344" name="TextBox 343">
              <a:extLst>
                <a:ext uri="{FF2B5EF4-FFF2-40B4-BE49-F238E27FC236}">
                  <a16:creationId xmlns:a16="http://schemas.microsoft.com/office/drawing/2014/main" id="{6D9A69DC-0BEA-429F-92F9-41A7BAB1F460}"/>
                </a:ext>
              </a:extLst>
            </p:cNvPr>
            <p:cNvSpPr txBox="1"/>
            <p:nvPr/>
          </p:nvSpPr>
          <p:spPr>
            <a:xfrm rot="16200000">
              <a:off x="5969069" y="3960520"/>
              <a:ext cx="50907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PFS</a:t>
              </a:r>
            </a:p>
          </p:txBody>
        </p:sp>
        <p:sp>
          <p:nvSpPr>
            <p:cNvPr id="345" name="TextBox 344">
              <a:extLst>
                <a:ext uri="{FF2B5EF4-FFF2-40B4-BE49-F238E27FC236}">
                  <a16:creationId xmlns:a16="http://schemas.microsoft.com/office/drawing/2014/main" id="{B85E6B4D-5B5D-410E-AE7A-4288EADDEEE5}"/>
                </a:ext>
              </a:extLst>
            </p:cNvPr>
            <p:cNvSpPr txBox="1"/>
            <p:nvPr/>
          </p:nvSpPr>
          <p:spPr>
            <a:xfrm rot="16200000">
              <a:off x="4968236" y="4920488"/>
              <a:ext cx="50907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PFS</a:t>
              </a:r>
            </a:p>
          </p:txBody>
        </p:sp>
        <p:sp>
          <p:nvSpPr>
            <p:cNvPr id="346" name="TextBox 345">
              <a:extLst>
                <a:ext uri="{FF2B5EF4-FFF2-40B4-BE49-F238E27FC236}">
                  <a16:creationId xmlns:a16="http://schemas.microsoft.com/office/drawing/2014/main" id="{D3DB9714-BC07-47A7-AC08-B0526F7AC176}"/>
                </a:ext>
              </a:extLst>
            </p:cNvPr>
            <p:cNvSpPr txBox="1"/>
            <p:nvPr/>
          </p:nvSpPr>
          <p:spPr>
            <a:xfrm>
              <a:off x="7485080" y="4625592"/>
              <a:ext cx="95908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Time (Months)</a:t>
              </a:r>
            </a:p>
          </p:txBody>
        </p:sp>
        <p:sp>
          <p:nvSpPr>
            <p:cNvPr id="347" name="TextBox 346">
              <a:extLst>
                <a:ext uri="{FF2B5EF4-FFF2-40B4-BE49-F238E27FC236}">
                  <a16:creationId xmlns:a16="http://schemas.microsoft.com/office/drawing/2014/main" id="{97189867-8E3F-460A-BFBA-35DCF50A1C79}"/>
                </a:ext>
              </a:extLst>
            </p:cNvPr>
            <p:cNvSpPr txBox="1"/>
            <p:nvPr/>
          </p:nvSpPr>
          <p:spPr>
            <a:xfrm>
              <a:off x="7485080" y="5175028"/>
              <a:ext cx="95908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Time (Months)</a:t>
              </a:r>
            </a:p>
          </p:txBody>
        </p:sp>
        <p:sp>
          <p:nvSpPr>
            <p:cNvPr id="348" name="TextBox 347">
              <a:extLst>
                <a:ext uri="{FF2B5EF4-FFF2-40B4-BE49-F238E27FC236}">
                  <a16:creationId xmlns:a16="http://schemas.microsoft.com/office/drawing/2014/main" id="{024ABFFB-C893-4622-9F2E-33275DF60421}"/>
                </a:ext>
              </a:extLst>
            </p:cNvPr>
            <p:cNvSpPr txBox="1"/>
            <p:nvPr/>
          </p:nvSpPr>
          <p:spPr>
            <a:xfrm>
              <a:off x="6339025" y="4670815"/>
              <a:ext cx="95908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4565B"/>
                  </a:solidFill>
                  <a:effectLst/>
                  <a:uLnTx/>
                  <a:uFillTx/>
                  <a:latin typeface="Arial" panose="020B0604020202020204"/>
                  <a:ea typeface="+mn-ea"/>
                  <a:cs typeface="+mn-cs"/>
                </a:rPr>
                <a:t>Number at Risk</a:t>
              </a:r>
            </a:p>
          </p:txBody>
        </p:sp>
        <p:sp>
          <p:nvSpPr>
            <p:cNvPr id="349" name="TextBox 348">
              <a:extLst>
                <a:ext uri="{FF2B5EF4-FFF2-40B4-BE49-F238E27FC236}">
                  <a16:creationId xmlns:a16="http://schemas.microsoft.com/office/drawing/2014/main" id="{DD61E3C2-7879-41F2-B688-36E388DEC6DA}"/>
                </a:ext>
              </a:extLst>
            </p:cNvPr>
            <p:cNvSpPr txBox="1"/>
            <p:nvPr/>
          </p:nvSpPr>
          <p:spPr>
            <a:xfrm>
              <a:off x="6754008" y="4268334"/>
              <a:ext cx="52207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p=0.11</a:t>
              </a:r>
            </a:p>
          </p:txBody>
        </p:sp>
        <p:grpSp>
          <p:nvGrpSpPr>
            <p:cNvPr id="350" name="Group 349">
              <a:extLst>
                <a:ext uri="{FF2B5EF4-FFF2-40B4-BE49-F238E27FC236}">
                  <a16:creationId xmlns:a16="http://schemas.microsoft.com/office/drawing/2014/main" id="{14E8B161-7705-4E39-AF90-5F5AA8AED2CE}"/>
                </a:ext>
              </a:extLst>
            </p:cNvPr>
            <p:cNvGrpSpPr/>
            <p:nvPr/>
          </p:nvGrpSpPr>
          <p:grpSpPr>
            <a:xfrm>
              <a:off x="8742853" y="3561540"/>
              <a:ext cx="238760" cy="141658"/>
              <a:chOff x="6372860" y="4911027"/>
              <a:chExt cx="238760" cy="141658"/>
            </a:xfrm>
          </p:grpSpPr>
          <p:cxnSp>
            <p:nvCxnSpPr>
              <p:cNvPr id="378" name="Straight Connector 377">
                <a:extLst>
                  <a:ext uri="{FF2B5EF4-FFF2-40B4-BE49-F238E27FC236}">
                    <a16:creationId xmlns:a16="http://schemas.microsoft.com/office/drawing/2014/main" id="{DD59041A-84D7-487D-8B53-6131AF5A4442}"/>
                  </a:ext>
                </a:extLst>
              </p:cNvPr>
              <p:cNvCxnSpPr/>
              <p:nvPr/>
            </p:nvCxnSpPr>
            <p:spPr>
              <a:xfrm>
                <a:off x="6372860" y="4937389"/>
                <a:ext cx="238760" cy="0"/>
              </a:xfrm>
              <a:prstGeom prst="line">
                <a:avLst/>
              </a:prstGeom>
              <a:ln w="12700">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0F462238-1399-4B98-96E5-29FA1A9793A4}"/>
                  </a:ext>
                </a:extLst>
              </p:cNvPr>
              <p:cNvCxnSpPr/>
              <p:nvPr/>
            </p:nvCxnSpPr>
            <p:spPr>
              <a:xfrm>
                <a:off x="6372860" y="5026323"/>
                <a:ext cx="238760" cy="0"/>
              </a:xfrm>
              <a:prstGeom prst="line">
                <a:avLst/>
              </a:prstGeom>
              <a:ln w="12700">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BA306A7C-28BE-4D95-AD83-921F36347CD6}"/>
                  </a:ext>
                </a:extLst>
              </p:cNvPr>
              <p:cNvCxnSpPr>
                <a:cxnSpLocks/>
              </p:cNvCxnSpPr>
              <p:nvPr/>
            </p:nvCxnSpPr>
            <p:spPr>
              <a:xfrm>
                <a:off x="6492240" y="4911027"/>
                <a:ext cx="0" cy="52724"/>
              </a:xfrm>
              <a:prstGeom prst="line">
                <a:avLst/>
              </a:prstGeom>
              <a:ln w="12700">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287E9568-A250-4A61-9374-4E2BA5E86232}"/>
                  </a:ext>
                </a:extLst>
              </p:cNvPr>
              <p:cNvCxnSpPr>
                <a:cxnSpLocks/>
              </p:cNvCxnSpPr>
              <p:nvPr/>
            </p:nvCxnSpPr>
            <p:spPr>
              <a:xfrm>
                <a:off x="6492240" y="4999961"/>
                <a:ext cx="0" cy="52724"/>
              </a:xfrm>
              <a:prstGeom prst="line">
                <a:avLst/>
              </a:prstGeom>
              <a:ln w="12700">
                <a:solidFill>
                  <a:srgbClr val="203661"/>
                </a:solidFill>
              </a:ln>
            </p:spPr>
            <p:style>
              <a:lnRef idx="1">
                <a:schemeClr val="accent1"/>
              </a:lnRef>
              <a:fillRef idx="0">
                <a:schemeClr val="accent1"/>
              </a:fillRef>
              <a:effectRef idx="0">
                <a:schemeClr val="accent1"/>
              </a:effectRef>
              <a:fontRef idx="minor">
                <a:schemeClr val="tx1"/>
              </a:fontRef>
            </p:style>
          </p:cxnSp>
        </p:grpSp>
        <p:grpSp>
          <p:nvGrpSpPr>
            <p:cNvPr id="351" name="Group 350">
              <a:extLst>
                <a:ext uri="{FF2B5EF4-FFF2-40B4-BE49-F238E27FC236}">
                  <a16:creationId xmlns:a16="http://schemas.microsoft.com/office/drawing/2014/main" id="{41828F74-C258-4642-B093-E4B777F9E82A}"/>
                </a:ext>
              </a:extLst>
            </p:cNvPr>
            <p:cNvGrpSpPr/>
            <p:nvPr/>
          </p:nvGrpSpPr>
          <p:grpSpPr>
            <a:xfrm>
              <a:off x="6718970" y="3561540"/>
              <a:ext cx="2086610" cy="838518"/>
              <a:chOff x="2546350" y="3660139"/>
              <a:chExt cx="2086610" cy="838518"/>
            </a:xfrm>
          </p:grpSpPr>
          <p:sp>
            <p:nvSpPr>
              <p:cNvPr id="361" name="Freeform: Shape 360">
                <a:extLst>
                  <a:ext uri="{FF2B5EF4-FFF2-40B4-BE49-F238E27FC236}">
                    <a16:creationId xmlns:a16="http://schemas.microsoft.com/office/drawing/2014/main" id="{056AF439-98F7-4582-9778-E42CA3840847}"/>
                  </a:ext>
                </a:extLst>
              </p:cNvPr>
              <p:cNvSpPr/>
              <p:nvPr/>
            </p:nvSpPr>
            <p:spPr>
              <a:xfrm>
                <a:off x="2546350" y="3660139"/>
                <a:ext cx="2086610" cy="812800"/>
              </a:xfrm>
              <a:custGeom>
                <a:avLst/>
                <a:gdLst>
                  <a:gd name="connsiteX0" fmla="*/ 0 w 2086610"/>
                  <a:gd name="connsiteY0" fmla="*/ 0 h 812800"/>
                  <a:gd name="connsiteX1" fmla="*/ 48260 w 2086610"/>
                  <a:gd name="connsiteY1" fmla="*/ 0 h 812800"/>
                  <a:gd name="connsiteX2" fmla="*/ 58420 w 2086610"/>
                  <a:gd name="connsiteY2" fmla="*/ 15240 h 812800"/>
                  <a:gd name="connsiteX3" fmla="*/ 83820 w 2086610"/>
                  <a:gd name="connsiteY3" fmla="*/ 15240 h 812800"/>
                  <a:gd name="connsiteX4" fmla="*/ 83820 w 2086610"/>
                  <a:gd name="connsiteY4" fmla="*/ 31750 h 812800"/>
                  <a:gd name="connsiteX5" fmla="*/ 106680 w 2086610"/>
                  <a:gd name="connsiteY5" fmla="*/ 31750 h 812800"/>
                  <a:gd name="connsiteX6" fmla="*/ 115570 w 2086610"/>
                  <a:gd name="connsiteY6" fmla="*/ 40640 h 812800"/>
                  <a:gd name="connsiteX7" fmla="*/ 180340 w 2086610"/>
                  <a:gd name="connsiteY7" fmla="*/ 40640 h 812800"/>
                  <a:gd name="connsiteX8" fmla="*/ 173990 w 2086610"/>
                  <a:gd name="connsiteY8" fmla="*/ 54610 h 812800"/>
                  <a:gd name="connsiteX9" fmla="*/ 181610 w 2086610"/>
                  <a:gd name="connsiteY9" fmla="*/ 62230 h 812800"/>
                  <a:gd name="connsiteX10" fmla="*/ 248920 w 2086610"/>
                  <a:gd name="connsiteY10" fmla="*/ 62230 h 812800"/>
                  <a:gd name="connsiteX11" fmla="*/ 248920 w 2086610"/>
                  <a:gd name="connsiteY11" fmla="*/ 72390 h 812800"/>
                  <a:gd name="connsiteX12" fmla="*/ 322580 w 2086610"/>
                  <a:gd name="connsiteY12" fmla="*/ 72390 h 812800"/>
                  <a:gd name="connsiteX13" fmla="*/ 299720 w 2086610"/>
                  <a:gd name="connsiteY13" fmla="*/ 74930 h 812800"/>
                  <a:gd name="connsiteX14" fmla="*/ 313690 w 2086610"/>
                  <a:gd name="connsiteY14" fmla="*/ 88900 h 812800"/>
                  <a:gd name="connsiteX15" fmla="*/ 313690 w 2086610"/>
                  <a:gd name="connsiteY15" fmla="*/ 104140 h 812800"/>
                  <a:gd name="connsiteX16" fmla="*/ 328930 w 2086610"/>
                  <a:gd name="connsiteY16" fmla="*/ 104140 h 812800"/>
                  <a:gd name="connsiteX17" fmla="*/ 328930 w 2086610"/>
                  <a:gd name="connsiteY17" fmla="*/ 153670 h 812800"/>
                  <a:gd name="connsiteX18" fmla="*/ 344170 w 2086610"/>
                  <a:gd name="connsiteY18" fmla="*/ 153670 h 812800"/>
                  <a:gd name="connsiteX19" fmla="*/ 344170 w 2086610"/>
                  <a:gd name="connsiteY19" fmla="*/ 179070 h 812800"/>
                  <a:gd name="connsiteX20" fmla="*/ 397510 w 2086610"/>
                  <a:gd name="connsiteY20" fmla="*/ 179070 h 812800"/>
                  <a:gd name="connsiteX21" fmla="*/ 397510 w 2086610"/>
                  <a:gd name="connsiteY21" fmla="*/ 198120 h 812800"/>
                  <a:gd name="connsiteX22" fmla="*/ 429260 w 2086610"/>
                  <a:gd name="connsiteY22" fmla="*/ 198120 h 812800"/>
                  <a:gd name="connsiteX23" fmla="*/ 429260 w 2086610"/>
                  <a:gd name="connsiteY23" fmla="*/ 219710 h 812800"/>
                  <a:gd name="connsiteX24" fmla="*/ 440690 w 2086610"/>
                  <a:gd name="connsiteY24" fmla="*/ 231140 h 812800"/>
                  <a:gd name="connsiteX25" fmla="*/ 440690 w 2086610"/>
                  <a:gd name="connsiteY25" fmla="*/ 247650 h 812800"/>
                  <a:gd name="connsiteX26" fmla="*/ 449580 w 2086610"/>
                  <a:gd name="connsiteY26" fmla="*/ 256540 h 812800"/>
                  <a:gd name="connsiteX27" fmla="*/ 449580 w 2086610"/>
                  <a:gd name="connsiteY27" fmla="*/ 273050 h 812800"/>
                  <a:gd name="connsiteX28" fmla="*/ 461010 w 2086610"/>
                  <a:gd name="connsiteY28" fmla="*/ 273050 h 812800"/>
                  <a:gd name="connsiteX29" fmla="*/ 529590 w 2086610"/>
                  <a:gd name="connsiteY29" fmla="*/ 273050 h 812800"/>
                  <a:gd name="connsiteX30" fmla="*/ 529590 w 2086610"/>
                  <a:gd name="connsiteY30" fmla="*/ 332740 h 812800"/>
                  <a:gd name="connsiteX31" fmla="*/ 542290 w 2086610"/>
                  <a:gd name="connsiteY31" fmla="*/ 345440 h 812800"/>
                  <a:gd name="connsiteX32" fmla="*/ 542290 w 2086610"/>
                  <a:gd name="connsiteY32" fmla="*/ 375920 h 812800"/>
                  <a:gd name="connsiteX33" fmla="*/ 560070 w 2086610"/>
                  <a:gd name="connsiteY33" fmla="*/ 379730 h 812800"/>
                  <a:gd name="connsiteX34" fmla="*/ 563880 w 2086610"/>
                  <a:gd name="connsiteY34" fmla="*/ 379730 h 812800"/>
                  <a:gd name="connsiteX35" fmla="*/ 571500 w 2086610"/>
                  <a:gd name="connsiteY35" fmla="*/ 391160 h 812800"/>
                  <a:gd name="connsiteX36" fmla="*/ 571500 w 2086610"/>
                  <a:gd name="connsiteY36" fmla="*/ 391160 h 812800"/>
                  <a:gd name="connsiteX37" fmla="*/ 591820 w 2086610"/>
                  <a:gd name="connsiteY37" fmla="*/ 394970 h 812800"/>
                  <a:gd name="connsiteX38" fmla="*/ 613410 w 2086610"/>
                  <a:gd name="connsiteY38" fmla="*/ 394970 h 812800"/>
                  <a:gd name="connsiteX39" fmla="*/ 624840 w 2086610"/>
                  <a:gd name="connsiteY39" fmla="*/ 393700 h 812800"/>
                  <a:gd name="connsiteX40" fmla="*/ 624840 w 2086610"/>
                  <a:gd name="connsiteY40" fmla="*/ 414020 h 812800"/>
                  <a:gd name="connsiteX41" fmla="*/ 635000 w 2086610"/>
                  <a:gd name="connsiteY41" fmla="*/ 424180 h 812800"/>
                  <a:gd name="connsiteX42" fmla="*/ 645160 w 2086610"/>
                  <a:gd name="connsiteY42" fmla="*/ 431800 h 812800"/>
                  <a:gd name="connsiteX43" fmla="*/ 651510 w 2086610"/>
                  <a:gd name="connsiteY43" fmla="*/ 438150 h 812800"/>
                  <a:gd name="connsiteX44" fmla="*/ 652780 w 2086610"/>
                  <a:gd name="connsiteY44" fmla="*/ 449580 h 812800"/>
                  <a:gd name="connsiteX45" fmla="*/ 652780 w 2086610"/>
                  <a:gd name="connsiteY45" fmla="*/ 461010 h 812800"/>
                  <a:gd name="connsiteX46" fmla="*/ 688340 w 2086610"/>
                  <a:gd name="connsiteY46" fmla="*/ 461010 h 812800"/>
                  <a:gd name="connsiteX47" fmla="*/ 688340 w 2086610"/>
                  <a:gd name="connsiteY47" fmla="*/ 487680 h 812800"/>
                  <a:gd name="connsiteX48" fmla="*/ 779780 w 2086610"/>
                  <a:gd name="connsiteY48" fmla="*/ 487680 h 812800"/>
                  <a:gd name="connsiteX49" fmla="*/ 779780 w 2086610"/>
                  <a:gd name="connsiteY49" fmla="*/ 523240 h 812800"/>
                  <a:gd name="connsiteX50" fmla="*/ 789940 w 2086610"/>
                  <a:gd name="connsiteY50" fmla="*/ 527050 h 812800"/>
                  <a:gd name="connsiteX51" fmla="*/ 835660 w 2086610"/>
                  <a:gd name="connsiteY51" fmla="*/ 527050 h 812800"/>
                  <a:gd name="connsiteX52" fmla="*/ 835660 w 2086610"/>
                  <a:gd name="connsiteY52" fmla="*/ 542290 h 812800"/>
                  <a:gd name="connsiteX53" fmla="*/ 890270 w 2086610"/>
                  <a:gd name="connsiteY53" fmla="*/ 542290 h 812800"/>
                  <a:gd name="connsiteX54" fmla="*/ 890270 w 2086610"/>
                  <a:gd name="connsiteY54" fmla="*/ 560070 h 812800"/>
                  <a:gd name="connsiteX55" fmla="*/ 972820 w 2086610"/>
                  <a:gd name="connsiteY55" fmla="*/ 560070 h 812800"/>
                  <a:gd name="connsiteX56" fmla="*/ 972820 w 2086610"/>
                  <a:gd name="connsiteY56" fmla="*/ 589280 h 812800"/>
                  <a:gd name="connsiteX57" fmla="*/ 1071880 w 2086610"/>
                  <a:gd name="connsiteY57" fmla="*/ 589280 h 812800"/>
                  <a:gd name="connsiteX58" fmla="*/ 1071880 w 2086610"/>
                  <a:gd name="connsiteY58" fmla="*/ 633730 h 812800"/>
                  <a:gd name="connsiteX59" fmla="*/ 1101090 w 2086610"/>
                  <a:gd name="connsiteY59" fmla="*/ 633730 h 812800"/>
                  <a:gd name="connsiteX60" fmla="*/ 1101090 w 2086610"/>
                  <a:gd name="connsiteY60" fmla="*/ 654050 h 812800"/>
                  <a:gd name="connsiteX61" fmla="*/ 1126490 w 2086610"/>
                  <a:gd name="connsiteY61" fmla="*/ 654050 h 812800"/>
                  <a:gd name="connsiteX62" fmla="*/ 1126490 w 2086610"/>
                  <a:gd name="connsiteY62" fmla="*/ 704850 h 812800"/>
                  <a:gd name="connsiteX63" fmla="*/ 1210310 w 2086610"/>
                  <a:gd name="connsiteY63" fmla="*/ 704850 h 812800"/>
                  <a:gd name="connsiteX64" fmla="*/ 1210310 w 2086610"/>
                  <a:gd name="connsiteY64" fmla="*/ 718820 h 812800"/>
                  <a:gd name="connsiteX65" fmla="*/ 1270000 w 2086610"/>
                  <a:gd name="connsiteY65" fmla="*/ 718820 h 812800"/>
                  <a:gd name="connsiteX66" fmla="*/ 1270000 w 2086610"/>
                  <a:gd name="connsiteY66" fmla="*/ 753110 h 812800"/>
                  <a:gd name="connsiteX67" fmla="*/ 1357630 w 2086610"/>
                  <a:gd name="connsiteY67" fmla="*/ 753110 h 812800"/>
                  <a:gd name="connsiteX68" fmla="*/ 1357630 w 2086610"/>
                  <a:gd name="connsiteY68" fmla="*/ 783590 h 812800"/>
                  <a:gd name="connsiteX69" fmla="*/ 1485900 w 2086610"/>
                  <a:gd name="connsiteY69" fmla="*/ 783590 h 812800"/>
                  <a:gd name="connsiteX70" fmla="*/ 1485900 w 2086610"/>
                  <a:gd name="connsiteY70" fmla="*/ 812800 h 812800"/>
                  <a:gd name="connsiteX71" fmla="*/ 2086610 w 2086610"/>
                  <a:gd name="connsiteY71" fmla="*/ 812800 h 81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086610" h="812800">
                    <a:moveTo>
                      <a:pt x="0" y="0"/>
                    </a:moveTo>
                    <a:lnTo>
                      <a:pt x="48260" y="0"/>
                    </a:lnTo>
                    <a:cubicBezTo>
                      <a:pt x="49776" y="18193"/>
                      <a:pt x="44432" y="15240"/>
                      <a:pt x="58420" y="15240"/>
                    </a:cubicBezTo>
                    <a:lnTo>
                      <a:pt x="83820" y="15240"/>
                    </a:lnTo>
                    <a:lnTo>
                      <a:pt x="83820" y="31750"/>
                    </a:lnTo>
                    <a:lnTo>
                      <a:pt x="106680" y="31750"/>
                    </a:lnTo>
                    <a:lnTo>
                      <a:pt x="115570" y="40640"/>
                    </a:lnTo>
                    <a:lnTo>
                      <a:pt x="180340" y="40640"/>
                    </a:lnTo>
                    <a:lnTo>
                      <a:pt x="173990" y="54610"/>
                    </a:lnTo>
                    <a:lnTo>
                      <a:pt x="181610" y="62230"/>
                    </a:lnTo>
                    <a:lnTo>
                      <a:pt x="248920" y="62230"/>
                    </a:lnTo>
                    <a:lnTo>
                      <a:pt x="248920" y="72390"/>
                    </a:lnTo>
                    <a:lnTo>
                      <a:pt x="322580" y="72390"/>
                    </a:lnTo>
                    <a:cubicBezTo>
                      <a:pt x="304835" y="75348"/>
                      <a:pt x="312490" y="74930"/>
                      <a:pt x="299720" y="74930"/>
                    </a:cubicBezTo>
                    <a:lnTo>
                      <a:pt x="313690" y="88900"/>
                    </a:lnTo>
                    <a:lnTo>
                      <a:pt x="313690" y="104140"/>
                    </a:lnTo>
                    <a:lnTo>
                      <a:pt x="328930" y="104140"/>
                    </a:lnTo>
                    <a:lnTo>
                      <a:pt x="328930" y="153670"/>
                    </a:lnTo>
                    <a:lnTo>
                      <a:pt x="344170" y="153670"/>
                    </a:lnTo>
                    <a:lnTo>
                      <a:pt x="344170" y="179070"/>
                    </a:lnTo>
                    <a:lnTo>
                      <a:pt x="397510" y="179070"/>
                    </a:lnTo>
                    <a:lnTo>
                      <a:pt x="397510" y="198120"/>
                    </a:lnTo>
                    <a:lnTo>
                      <a:pt x="429260" y="198120"/>
                    </a:lnTo>
                    <a:lnTo>
                      <a:pt x="429260" y="219710"/>
                    </a:lnTo>
                    <a:lnTo>
                      <a:pt x="440690" y="231140"/>
                    </a:lnTo>
                    <a:lnTo>
                      <a:pt x="440690" y="247650"/>
                    </a:lnTo>
                    <a:lnTo>
                      <a:pt x="449580" y="256540"/>
                    </a:lnTo>
                    <a:lnTo>
                      <a:pt x="449580" y="273050"/>
                    </a:lnTo>
                    <a:lnTo>
                      <a:pt x="461010" y="273050"/>
                    </a:lnTo>
                    <a:lnTo>
                      <a:pt x="529590" y="273050"/>
                    </a:lnTo>
                    <a:lnTo>
                      <a:pt x="529590" y="332740"/>
                    </a:lnTo>
                    <a:lnTo>
                      <a:pt x="542290" y="345440"/>
                    </a:lnTo>
                    <a:lnTo>
                      <a:pt x="542290" y="375920"/>
                    </a:lnTo>
                    <a:cubicBezTo>
                      <a:pt x="554828" y="380622"/>
                      <a:pt x="548833" y="379730"/>
                      <a:pt x="560070" y="379730"/>
                    </a:cubicBezTo>
                    <a:lnTo>
                      <a:pt x="563880" y="379730"/>
                    </a:lnTo>
                    <a:lnTo>
                      <a:pt x="571500" y="391160"/>
                    </a:lnTo>
                    <a:lnTo>
                      <a:pt x="571500" y="391160"/>
                    </a:lnTo>
                    <a:cubicBezTo>
                      <a:pt x="587512" y="395527"/>
                      <a:pt x="580643" y="394970"/>
                      <a:pt x="591820" y="394970"/>
                    </a:cubicBezTo>
                    <a:lnTo>
                      <a:pt x="613410" y="394970"/>
                    </a:lnTo>
                    <a:lnTo>
                      <a:pt x="624840" y="393700"/>
                    </a:lnTo>
                    <a:lnTo>
                      <a:pt x="624840" y="414020"/>
                    </a:lnTo>
                    <a:lnTo>
                      <a:pt x="635000" y="424180"/>
                    </a:lnTo>
                    <a:lnTo>
                      <a:pt x="645160" y="431800"/>
                    </a:lnTo>
                    <a:lnTo>
                      <a:pt x="651510" y="438150"/>
                    </a:lnTo>
                    <a:lnTo>
                      <a:pt x="652780" y="449580"/>
                    </a:lnTo>
                    <a:lnTo>
                      <a:pt x="652780" y="461010"/>
                    </a:lnTo>
                    <a:lnTo>
                      <a:pt x="688340" y="461010"/>
                    </a:lnTo>
                    <a:lnTo>
                      <a:pt x="688340" y="487680"/>
                    </a:lnTo>
                    <a:lnTo>
                      <a:pt x="779780" y="487680"/>
                    </a:lnTo>
                    <a:lnTo>
                      <a:pt x="779780" y="523240"/>
                    </a:lnTo>
                    <a:lnTo>
                      <a:pt x="789940" y="527050"/>
                    </a:lnTo>
                    <a:lnTo>
                      <a:pt x="835660" y="527050"/>
                    </a:lnTo>
                    <a:lnTo>
                      <a:pt x="835660" y="542290"/>
                    </a:lnTo>
                    <a:lnTo>
                      <a:pt x="890270" y="542290"/>
                    </a:lnTo>
                    <a:lnTo>
                      <a:pt x="890270" y="560070"/>
                    </a:lnTo>
                    <a:lnTo>
                      <a:pt x="972820" y="560070"/>
                    </a:lnTo>
                    <a:lnTo>
                      <a:pt x="972820" y="589280"/>
                    </a:lnTo>
                    <a:lnTo>
                      <a:pt x="1071880" y="589280"/>
                    </a:lnTo>
                    <a:lnTo>
                      <a:pt x="1071880" y="633730"/>
                    </a:lnTo>
                    <a:lnTo>
                      <a:pt x="1101090" y="633730"/>
                    </a:lnTo>
                    <a:lnTo>
                      <a:pt x="1101090" y="654050"/>
                    </a:lnTo>
                    <a:lnTo>
                      <a:pt x="1126490" y="654050"/>
                    </a:lnTo>
                    <a:lnTo>
                      <a:pt x="1126490" y="704850"/>
                    </a:lnTo>
                    <a:lnTo>
                      <a:pt x="1210310" y="704850"/>
                    </a:lnTo>
                    <a:lnTo>
                      <a:pt x="1210310" y="718820"/>
                    </a:lnTo>
                    <a:lnTo>
                      <a:pt x="1270000" y="718820"/>
                    </a:lnTo>
                    <a:lnTo>
                      <a:pt x="1270000" y="753110"/>
                    </a:lnTo>
                    <a:lnTo>
                      <a:pt x="1357630" y="753110"/>
                    </a:lnTo>
                    <a:lnTo>
                      <a:pt x="1357630" y="783590"/>
                    </a:lnTo>
                    <a:lnTo>
                      <a:pt x="1485900" y="783590"/>
                    </a:lnTo>
                    <a:lnTo>
                      <a:pt x="1485900" y="812800"/>
                    </a:lnTo>
                    <a:lnTo>
                      <a:pt x="2086610" y="812800"/>
                    </a:lnTo>
                  </a:path>
                </a:pathLst>
              </a:custGeom>
              <a:noFill/>
              <a:ln w="9525">
                <a:solidFill>
                  <a:srgbClr val="0083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62" name="Straight Connector 361">
                <a:extLst>
                  <a:ext uri="{FF2B5EF4-FFF2-40B4-BE49-F238E27FC236}">
                    <a16:creationId xmlns:a16="http://schemas.microsoft.com/office/drawing/2014/main" id="{06BB51C8-DC8E-4B87-9E31-FA6AFFAB69A7}"/>
                  </a:ext>
                </a:extLst>
              </p:cNvPr>
              <p:cNvCxnSpPr>
                <a:cxnSpLocks/>
              </p:cNvCxnSpPr>
              <p:nvPr/>
            </p:nvCxnSpPr>
            <p:spPr>
              <a:xfrm>
                <a:off x="4621847" y="4447220"/>
                <a:ext cx="0" cy="51437"/>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758CD325-83BE-42A4-90D4-98D4D1E4155C}"/>
                  </a:ext>
                </a:extLst>
              </p:cNvPr>
              <p:cNvCxnSpPr>
                <a:cxnSpLocks/>
              </p:cNvCxnSpPr>
              <p:nvPr/>
            </p:nvCxnSpPr>
            <p:spPr>
              <a:xfrm>
                <a:off x="4450397" y="4447220"/>
                <a:ext cx="0" cy="51437"/>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85D71E73-881C-4A3B-BE8A-F87EDAE9439E}"/>
                  </a:ext>
                </a:extLst>
              </p:cNvPr>
              <p:cNvCxnSpPr>
                <a:cxnSpLocks/>
              </p:cNvCxnSpPr>
              <p:nvPr/>
            </p:nvCxnSpPr>
            <p:spPr>
              <a:xfrm>
                <a:off x="4231322" y="4447220"/>
                <a:ext cx="0" cy="51437"/>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44EA2C14-628A-4F2F-A65B-51BD6837958D}"/>
                  </a:ext>
                </a:extLst>
              </p:cNvPr>
              <p:cNvCxnSpPr>
                <a:cxnSpLocks/>
              </p:cNvCxnSpPr>
              <p:nvPr/>
            </p:nvCxnSpPr>
            <p:spPr>
              <a:xfrm>
                <a:off x="4057967" y="4447220"/>
                <a:ext cx="0" cy="51437"/>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AE200A6F-C2D8-4E23-98A3-6FD351291203}"/>
                  </a:ext>
                </a:extLst>
              </p:cNvPr>
              <p:cNvCxnSpPr>
                <a:cxnSpLocks/>
              </p:cNvCxnSpPr>
              <p:nvPr/>
            </p:nvCxnSpPr>
            <p:spPr>
              <a:xfrm>
                <a:off x="3770312" y="4346255"/>
                <a:ext cx="0" cy="51437"/>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a16="http://schemas.microsoft.com/office/drawing/2014/main" id="{C80E3849-F8D6-4081-96B8-2CDD1D3454BD}"/>
                  </a:ext>
                </a:extLst>
              </p:cNvPr>
              <p:cNvCxnSpPr>
                <a:cxnSpLocks/>
              </p:cNvCxnSpPr>
              <p:nvPr/>
            </p:nvCxnSpPr>
            <p:spPr>
              <a:xfrm>
                <a:off x="3734117" y="4328141"/>
                <a:ext cx="0" cy="51437"/>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89210821-D4B6-4B6D-8576-EC09F396ED9E}"/>
                  </a:ext>
                </a:extLst>
              </p:cNvPr>
              <p:cNvCxnSpPr>
                <a:cxnSpLocks/>
              </p:cNvCxnSpPr>
              <p:nvPr/>
            </p:nvCxnSpPr>
            <p:spPr>
              <a:xfrm>
                <a:off x="3498849" y="4193839"/>
                <a:ext cx="0" cy="51437"/>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a16="http://schemas.microsoft.com/office/drawing/2014/main" id="{F2785C72-663F-49CC-A160-E7ED2C6D0A4A}"/>
                  </a:ext>
                </a:extLst>
              </p:cNvPr>
              <p:cNvCxnSpPr>
                <a:cxnSpLocks/>
              </p:cNvCxnSpPr>
              <p:nvPr/>
            </p:nvCxnSpPr>
            <p:spPr>
              <a:xfrm>
                <a:off x="3475989" y="4193839"/>
                <a:ext cx="0" cy="51437"/>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26A9C266-CD48-45DD-9277-9590FFAC308F}"/>
                  </a:ext>
                </a:extLst>
              </p:cNvPr>
              <p:cNvCxnSpPr>
                <a:cxnSpLocks/>
              </p:cNvCxnSpPr>
              <p:nvPr/>
            </p:nvCxnSpPr>
            <p:spPr>
              <a:xfrm>
                <a:off x="3048317" y="3905232"/>
                <a:ext cx="0" cy="51437"/>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EF825FB3-A71C-49D6-8124-D471A5CC3D04}"/>
                  </a:ext>
                </a:extLst>
              </p:cNvPr>
              <p:cNvCxnSpPr>
                <a:cxnSpLocks/>
              </p:cNvCxnSpPr>
              <p:nvPr/>
            </p:nvCxnSpPr>
            <p:spPr>
              <a:xfrm flipH="1">
                <a:off x="2837498" y="3745214"/>
                <a:ext cx="55245" cy="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897BEC45-B476-454A-B466-0800E58AC86F}"/>
                  </a:ext>
                </a:extLst>
              </p:cNvPr>
              <p:cNvCxnSpPr>
                <a:cxnSpLocks/>
              </p:cNvCxnSpPr>
              <p:nvPr/>
            </p:nvCxnSpPr>
            <p:spPr>
              <a:xfrm flipH="1">
                <a:off x="2962275" y="3905232"/>
                <a:ext cx="55245" cy="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DA074746-5AF7-424A-9C85-00653C82D761}"/>
                  </a:ext>
                </a:extLst>
              </p:cNvPr>
              <p:cNvCxnSpPr>
                <a:cxnSpLocks/>
              </p:cNvCxnSpPr>
              <p:nvPr/>
            </p:nvCxnSpPr>
            <p:spPr>
              <a:xfrm flipH="1">
                <a:off x="2983230" y="3930950"/>
                <a:ext cx="55245" cy="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9F4DFF10-A17C-4C5B-AE63-A0286934010A}"/>
                  </a:ext>
                </a:extLst>
              </p:cNvPr>
              <p:cNvCxnSpPr>
                <a:cxnSpLocks/>
              </p:cNvCxnSpPr>
              <p:nvPr/>
            </p:nvCxnSpPr>
            <p:spPr>
              <a:xfrm>
                <a:off x="3124201" y="4020836"/>
                <a:ext cx="0" cy="45703"/>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04FD2B09-31E1-43E3-A0FE-2A0B7B52AA1A}"/>
                  </a:ext>
                </a:extLst>
              </p:cNvPr>
              <p:cNvCxnSpPr>
                <a:cxnSpLocks/>
              </p:cNvCxnSpPr>
              <p:nvPr/>
            </p:nvCxnSpPr>
            <p:spPr>
              <a:xfrm>
                <a:off x="3168016" y="4066539"/>
                <a:ext cx="0" cy="45703"/>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9E5CD112-0E45-4A52-B6D8-921E37BA08BA}"/>
                  </a:ext>
                </a:extLst>
              </p:cNvPr>
              <p:cNvCxnSpPr>
                <a:cxnSpLocks/>
              </p:cNvCxnSpPr>
              <p:nvPr/>
            </p:nvCxnSpPr>
            <p:spPr>
              <a:xfrm flipH="1">
                <a:off x="3140393" y="4084118"/>
                <a:ext cx="55245" cy="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BBFB6C93-0BAA-4BA8-B966-36A7DD3C7C90}"/>
                  </a:ext>
                </a:extLst>
              </p:cNvPr>
              <p:cNvCxnSpPr>
                <a:cxnSpLocks/>
              </p:cNvCxnSpPr>
              <p:nvPr/>
            </p:nvCxnSpPr>
            <p:spPr>
              <a:xfrm>
                <a:off x="2862263" y="3714115"/>
                <a:ext cx="0" cy="45703"/>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grpSp>
        <p:grpSp>
          <p:nvGrpSpPr>
            <p:cNvPr id="352" name="Group 351">
              <a:extLst>
                <a:ext uri="{FF2B5EF4-FFF2-40B4-BE49-F238E27FC236}">
                  <a16:creationId xmlns:a16="http://schemas.microsoft.com/office/drawing/2014/main" id="{6A4B855D-8F5E-4F36-9C9E-4B1CB2201346}"/>
                </a:ext>
              </a:extLst>
            </p:cNvPr>
            <p:cNvGrpSpPr/>
            <p:nvPr/>
          </p:nvGrpSpPr>
          <p:grpSpPr>
            <a:xfrm>
              <a:off x="6717508" y="3568418"/>
              <a:ext cx="2421890" cy="932497"/>
              <a:chOff x="2545080" y="3665220"/>
              <a:chExt cx="2421890" cy="932497"/>
            </a:xfrm>
          </p:grpSpPr>
          <p:sp>
            <p:nvSpPr>
              <p:cNvPr id="356" name="Freeform: Shape 355">
                <a:extLst>
                  <a:ext uri="{FF2B5EF4-FFF2-40B4-BE49-F238E27FC236}">
                    <a16:creationId xmlns:a16="http://schemas.microsoft.com/office/drawing/2014/main" id="{0166B3A9-F2DF-42B6-817E-FE8A9DBA692B}"/>
                  </a:ext>
                </a:extLst>
              </p:cNvPr>
              <p:cNvSpPr/>
              <p:nvPr/>
            </p:nvSpPr>
            <p:spPr>
              <a:xfrm>
                <a:off x="2545080" y="3665220"/>
                <a:ext cx="2421890" cy="906780"/>
              </a:xfrm>
              <a:custGeom>
                <a:avLst/>
                <a:gdLst>
                  <a:gd name="connsiteX0" fmla="*/ 0 w 2421890"/>
                  <a:gd name="connsiteY0" fmla="*/ 0 h 906780"/>
                  <a:gd name="connsiteX1" fmla="*/ 0 w 2421890"/>
                  <a:gd name="connsiteY1" fmla="*/ 0 h 906780"/>
                  <a:gd name="connsiteX2" fmla="*/ 113030 w 2421890"/>
                  <a:gd name="connsiteY2" fmla="*/ 0 h 906780"/>
                  <a:gd name="connsiteX3" fmla="*/ 113030 w 2421890"/>
                  <a:gd name="connsiteY3" fmla="*/ 22860 h 906780"/>
                  <a:gd name="connsiteX4" fmla="*/ 161290 w 2421890"/>
                  <a:gd name="connsiteY4" fmla="*/ 22860 h 906780"/>
                  <a:gd name="connsiteX5" fmla="*/ 161290 w 2421890"/>
                  <a:gd name="connsiteY5" fmla="*/ 50800 h 906780"/>
                  <a:gd name="connsiteX6" fmla="*/ 233680 w 2421890"/>
                  <a:gd name="connsiteY6" fmla="*/ 50800 h 906780"/>
                  <a:gd name="connsiteX7" fmla="*/ 233680 w 2421890"/>
                  <a:gd name="connsiteY7" fmla="*/ 100330 h 906780"/>
                  <a:gd name="connsiteX8" fmla="*/ 279400 w 2421890"/>
                  <a:gd name="connsiteY8" fmla="*/ 100330 h 906780"/>
                  <a:gd name="connsiteX9" fmla="*/ 279400 w 2421890"/>
                  <a:gd name="connsiteY9" fmla="*/ 116840 h 906780"/>
                  <a:gd name="connsiteX10" fmla="*/ 287020 w 2421890"/>
                  <a:gd name="connsiteY10" fmla="*/ 129540 h 906780"/>
                  <a:gd name="connsiteX11" fmla="*/ 326390 w 2421890"/>
                  <a:gd name="connsiteY11" fmla="*/ 129540 h 906780"/>
                  <a:gd name="connsiteX12" fmla="*/ 326390 w 2421890"/>
                  <a:gd name="connsiteY12" fmla="*/ 229870 h 906780"/>
                  <a:gd name="connsiteX13" fmla="*/ 351790 w 2421890"/>
                  <a:gd name="connsiteY13" fmla="*/ 229870 h 906780"/>
                  <a:gd name="connsiteX14" fmla="*/ 351790 w 2421890"/>
                  <a:gd name="connsiteY14" fmla="*/ 273050 h 906780"/>
                  <a:gd name="connsiteX15" fmla="*/ 397510 w 2421890"/>
                  <a:gd name="connsiteY15" fmla="*/ 273050 h 906780"/>
                  <a:gd name="connsiteX16" fmla="*/ 397510 w 2421890"/>
                  <a:gd name="connsiteY16" fmla="*/ 302260 h 906780"/>
                  <a:gd name="connsiteX17" fmla="*/ 415290 w 2421890"/>
                  <a:gd name="connsiteY17" fmla="*/ 302260 h 906780"/>
                  <a:gd name="connsiteX18" fmla="*/ 415290 w 2421890"/>
                  <a:gd name="connsiteY18" fmla="*/ 328930 h 906780"/>
                  <a:gd name="connsiteX19" fmla="*/ 459740 w 2421890"/>
                  <a:gd name="connsiteY19" fmla="*/ 328930 h 906780"/>
                  <a:gd name="connsiteX20" fmla="*/ 459740 w 2421890"/>
                  <a:gd name="connsiteY20" fmla="*/ 378460 h 906780"/>
                  <a:gd name="connsiteX21" fmla="*/ 469900 w 2421890"/>
                  <a:gd name="connsiteY21" fmla="*/ 382270 h 906780"/>
                  <a:gd name="connsiteX22" fmla="*/ 469900 w 2421890"/>
                  <a:gd name="connsiteY22" fmla="*/ 412750 h 906780"/>
                  <a:gd name="connsiteX23" fmla="*/ 481330 w 2421890"/>
                  <a:gd name="connsiteY23" fmla="*/ 412750 h 906780"/>
                  <a:gd name="connsiteX24" fmla="*/ 511810 w 2421890"/>
                  <a:gd name="connsiteY24" fmla="*/ 412750 h 906780"/>
                  <a:gd name="connsiteX25" fmla="*/ 513080 w 2421890"/>
                  <a:gd name="connsiteY25" fmla="*/ 426720 h 906780"/>
                  <a:gd name="connsiteX26" fmla="*/ 513080 w 2421890"/>
                  <a:gd name="connsiteY26" fmla="*/ 440690 h 906780"/>
                  <a:gd name="connsiteX27" fmla="*/ 530860 w 2421890"/>
                  <a:gd name="connsiteY27" fmla="*/ 458470 h 906780"/>
                  <a:gd name="connsiteX28" fmla="*/ 530860 w 2421890"/>
                  <a:gd name="connsiteY28" fmla="*/ 487680 h 906780"/>
                  <a:gd name="connsiteX29" fmla="*/ 543560 w 2421890"/>
                  <a:gd name="connsiteY29" fmla="*/ 500380 h 906780"/>
                  <a:gd name="connsiteX30" fmla="*/ 546100 w 2421890"/>
                  <a:gd name="connsiteY30" fmla="*/ 513080 h 906780"/>
                  <a:gd name="connsiteX31" fmla="*/ 546100 w 2421890"/>
                  <a:gd name="connsiteY31" fmla="*/ 532130 h 906780"/>
                  <a:gd name="connsiteX32" fmla="*/ 541020 w 2421890"/>
                  <a:gd name="connsiteY32" fmla="*/ 542290 h 906780"/>
                  <a:gd name="connsiteX33" fmla="*/ 547370 w 2421890"/>
                  <a:gd name="connsiteY33" fmla="*/ 548640 h 906780"/>
                  <a:gd name="connsiteX34" fmla="*/ 581660 w 2421890"/>
                  <a:gd name="connsiteY34" fmla="*/ 548640 h 906780"/>
                  <a:gd name="connsiteX35" fmla="*/ 581660 w 2421890"/>
                  <a:gd name="connsiteY35" fmla="*/ 562610 h 906780"/>
                  <a:gd name="connsiteX36" fmla="*/ 687070 w 2421890"/>
                  <a:gd name="connsiteY36" fmla="*/ 562610 h 906780"/>
                  <a:gd name="connsiteX37" fmla="*/ 687070 w 2421890"/>
                  <a:gd name="connsiteY37" fmla="*/ 610870 h 906780"/>
                  <a:gd name="connsiteX38" fmla="*/ 735330 w 2421890"/>
                  <a:gd name="connsiteY38" fmla="*/ 610870 h 906780"/>
                  <a:gd name="connsiteX39" fmla="*/ 735330 w 2421890"/>
                  <a:gd name="connsiteY39" fmla="*/ 646430 h 906780"/>
                  <a:gd name="connsiteX40" fmla="*/ 748030 w 2421890"/>
                  <a:gd name="connsiteY40" fmla="*/ 659130 h 906780"/>
                  <a:gd name="connsiteX41" fmla="*/ 760730 w 2421890"/>
                  <a:gd name="connsiteY41" fmla="*/ 660400 h 906780"/>
                  <a:gd name="connsiteX42" fmla="*/ 760730 w 2421890"/>
                  <a:gd name="connsiteY42" fmla="*/ 681990 h 906780"/>
                  <a:gd name="connsiteX43" fmla="*/ 819150 w 2421890"/>
                  <a:gd name="connsiteY43" fmla="*/ 681990 h 906780"/>
                  <a:gd name="connsiteX44" fmla="*/ 819150 w 2421890"/>
                  <a:gd name="connsiteY44" fmla="*/ 715010 h 906780"/>
                  <a:gd name="connsiteX45" fmla="*/ 914400 w 2421890"/>
                  <a:gd name="connsiteY45" fmla="*/ 715010 h 906780"/>
                  <a:gd name="connsiteX46" fmla="*/ 914400 w 2421890"/>
                  <a:gd name="connsiteY46" fmla="*/ 737870 h 906780"/>
                  <a:gd name="connsiteX47" fmla="*/ 1035050 w 2421890"/>
                  <a:gd name="connsiteY47" fmla="*/ 737870 h 906780"/>
                  <a:gd name="connsiteX48" fmla="*/ 1035050 w 2421890"/>
                  <a:gd name="connsiteY48" fmla="*/ 760730 h 906780"/>
                  <a:gd name="connsiteX49" fmla="*/ 1065530 w 2421890"/>
                  <a:gd name="connsiteY49" fmla="*/ 760730 h 906780"/>
                  <a:gd name="connsiteX50" fmla="*/ 1065530 w 2421890"/>
                  <a:gd name="connsiteY50" fmla="*/ 791210 h 906780"/>
                  <a:gd name="connsiteX51" fmla="*/ 1375410 w 2421890"/>
                  <a:gd name="connsiteY51" fmla="*/ 791210 h 906780"/>
                  <a:gd name="connsiteX52" fmla="*/ 1375410 w 2421890"/>
                  <a:gd name="connsiteY52" fmla="*/ 817880 h 906780"/>
                  <a:gd name="connsiteX53" fmla="*/ 1446530 w 2421890"/>
                  <a:gd name="connsiteY53" fmla="*/ 817880 h 906780"/>
                  <a:gd name="connsiteX54" fmla="*/ 1446530 w 2421890"/>
                  <a:gd name="connsiteY54" fmla="*/ 850900 h 906780"/>
                  <a:gd name="connsiteX55" fmla="*/ 1546860 w 2421890"/>
                  <a:gd name="connsiteY55" fmla="*/ 850900 h 906780"/>
                  <a:gd name="connsiteX56" fmla="*/ 1546860 w 2421890"/>
                  <a:gd name="connsiteY56" fmla="*/ 866140 h 906780"/>
                  <a:gd name="connsiteX57" fmla="*/ 2145030 w 2421890"/>
                  <a:gd name="connsiteY57" fmla="*/ 866140 h 906780"/>
                  <a:gd name="connsiteX58" fmla="*/ 2145030 w 2421890"/>
                  <a:gd name="connsiteY58" fmla="*/ 906780 h 906780"/>
                  <a:gd name="connsiteX59" fmla="*/ 2421890 w 2421890"/>
                  <a:gd name="connsiteY59" fmla="*/ 906780 h 906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421890" h="906780">
                    <a:moveTo>
                      <a:pt x="0" y="0"/>
                    </a:moveTo>
                    <a:lnTo>
                      <a:pt x="0" y="0"/>
                    </a:lnTo>
                    <a:lnTo>
                      <a:pt x="113030" y="0"/>
                    </a:lnTo>
                    <a:lnTo>
                      <a:pt x="113030" y="22860"/>
                    </a:lnTo>
                    <a:lnTo>
                      <a:pt x="161290" y="22860"/>
                    </a:lnTo>
                    <a:lnTo>
                      <a:pt x="161290" y="50800"/>
                    </a:lnTo>
                    <a:lnTo>
                      <a:pt x="233680" y="50800"/>
                    </a:lnTo>
                    <a:lnTo>
                      <a:pt x="233680" y="100330"/>
                    </a:lnTo>
                    <a:lnTo>
                      <a:pt x="279400" y="100330"/>
                    </a:lnTo>
                    <a:lnTo>
                      <a:pt x="279400" y="116840"/>
                    </a:lnTo>
                    <a:lnTo>
                      <a:pt x="287020" y="129540"/>
                    </a:lnTo>
                    <a:lnTo>
                      <a:pt x="326390" y="129540"/>
                    </a:lnTo>
                    <a:lnTo>
                      <a:pt x="326390" y="229870"/>
                    </a:lnTo>
                    <a:lnTo>
                      <a:pt x="351790" y="229870"/>
                    </a:lnTo>
                    <a:lnTo>
                      <a:pt x="351790" y="273050"/>
                    </a:lnTo>
                    <a:lnTo>
                      <a:pt x="397510" y="273050"/>
                    </a:lnTo>
                    <a:lnTo>
                      <a:pt x="397510" y="302260"/>
                    </a:lnTo>
                    <a:lnTo>
                      <a:pt x="415290" y="302260"/>
                    </a:lnTo>
                    <a:lnTo>
                      <a:pt x="415290" y="328930"/>
                    </a:lnTo>
                    <a:lnTo>
                      <a:pt x="459740" y="328930"/>
                    </a:lnTo>
                    <a:lnTo>
                      <a:pt x="459740" y="378460"/>
                    </a:lnTo>
                    <a:lnTo>
                      <a:pt x="469900" y="382270"/>
                    </a:lnTo>
                    <a:lnTo>
                      <a:pt x="469900" y="412750"/>
                    </a:lnTo>
                    <a:lnTo>
                      <a:pt x="481330" y="412750"/>
                    </a:lnTo>
                    <a:lnTo>
                      <a:pt x="511810" y="412750"/>
                    </a:lnTo>
                    <a:lnTo>
                      <a:pt x="513080" y="426720"/>
                    </a:lnTo>
                    <a:lnTo>
                      <a:pt x="513080" y="440690"/>
                    </a:lnTo>
                    <a:lnTo>
                      <a:pt x="530860" y="458470"/>
                    </a:lnTo>
                    <a:lnTo>
                      <a:pt x="530860" y="487680"/>
                    </a:lnTo>
                    <a:lnTo>
                      <a:pt x="543560" y="500380"/>
                    </a:lnTo>
                    <a:lnTo>
                      <a:pt x="546100" y="513080"/>
                    </a:lnTo>
                    <a:lnTo>
                      <a:pt x="546100" y="532130"/>
                    </a:lnTo>
                    <a:lnTo>
                      <a:pt x="541020" y="542290"/>
                    </a:lnTo>
                    <a:lnTo>
                      <a:pt x="547370" y="548640"/>
                    </a:lnTo>
                    <a:lnTo>
                      <a:pt x="581660" y="548640"/>
                    </a:lnTo>
                    <a:lnTo>
                      <a:pt x="581660" y="562610"/>
                    </a:lnTo>
                    <a:lnTo>
                      <a:pt x="687070" y="562610"/>
                    </a:lnTo>
                    <a:lnTo>
                      <a:pt x="687070" y="610870"/>
                    </a:lnTo>
                    <a:lnTo>
                      <a:pt x="735330" y="610870"/>
                    </a:lnTo>
                    <a:lnTo>
                      <a:pt x="735330" y="646430"/>
                    </a:lnTo>
                    <a:lnTo>
                      <a:pt x="748030" y="659130"/>
                    </a:lnTo>
                    <a:lnTo>
                      <a:pt x="760730" y="660400"/>
                    </a:lnTo>
                    <a:lnTo>
                      <a:pt x="760730" y="681990"/>
                    </a:lnTo>
                    <a:lnTo>
                      <a:pt x="819150" y="681990"/>
                    </a:lnTo>
                    <a:lnTo>
                      <a:pt x="819150" y="715010"/>
                    </a:lnTo>
                    <a:lnTo>
                      <a:pt x="914400" y="715010"/>
                    </a:lnTo>
                    <a:lnTo>
                      <a:pt x="914400" y="737870"/>
                    </a:lnTo>
                    <a:lnTo>
                      <a:pt x="1035050" y="737870"/>
                    </a:lnTo>
                    <a:lnTo>
                      <a:pt x="1035050" y="760730"/>
                    </a:lnTo>
                    <a:lnTo>
                      <a:pt x="1065530" y="760730"/>
                    </a:lnTo>
                    <a:lnTo>
                      <a:pt x="1065530" y="791210"/>
                    </a:lnTo>
                    <a:lnTo>
                      <a:pt x="1375410" y="791210"/>
                    </a:lnTo>
                    <a:lnTo>
                      <a:pt x="1375410" y="817880"/>
                    </a:lnTo>
                    <a:lnTo>
                      <a:pt x="1446530" y="817880"/>
                    </a:lnTo>
                    <a:lnTo>
                      <a:pt x="1446530" y="850900"/>
                    </a:lnTo>
                    <a:lnTo>
                      <a:pt x="1546860" y="850900"/>
                    </a:lnTo>
                    <a:lnTo>
                      <a:pt x="1546860" y="866140"/>
                    </a:lnTo>
                    <a:lnTo>
                      <a:pt x="2145030" y="866140"/>
                    </a:lnTo>
                    <a:lnTo>
                      <a:pt x="2145030" y="906780"/>
                    </a:lnTo>
                    <a:lnTo>
                      <a:pt x="2421890" y="906780"/>
                    </a:lnTo>
                  </a:path>
                </a:pathLst>
              </a:custGeom>
              <a:noFill/>
              <a:ln w="9525">
                <a:solidFill>
                  <a:srgbClr val="2036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57" name="Straight Connector 356">
                <a:extLst>
                  <a:ext uri="{FF2B5EF4-FFF2-40B4-BE49-F238E27FC236}">
                    <a16:creationId xmlns:a16="http://schemas.microsoft.com/office/drawing/2014/main" id="{609658C6-E4E5-4397-B98C-F8BA4BDC464E}"/>
                  </a:ext>
                </a:extLst>
              </p:cNvPr>
              <p:cNvCxnSpPr/>
              <p:nvPr/>
            </p:nvCxnSpPr>
            <p:spPr>
              <a:xfrm>
                <a:off x="4925378" y="4546282"/>
                <a:ext cx="0" cy="51435"/>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358" name="Straight Connector 357">
                <a:extLst>
                  <a:ext uri="{FF2B5EF4-FFF2-40B4-BE49-F238E27FC236}">
                    <a16:creationId xmlns:a16="http://schemas.microsoft.com/office/drawing/2014/main" id="{8E58D8A3-E4F7-46A0-ACA3-5067AD4BA71D}"/>
                  </a:ext>
                </a:extLst>
              </p:cNvPr>
              <p:cNvCxnSpPr/>
              <p:nvPr/>
            </p:nvCxnSpPr>
            <p:spPr>
              <a:xfrm>
                <a:off x="4173855" y="4506277"/>
                <a:ext cx="0" cy="51435"/>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359" name="Straight Connector 358">
                <a:extLst>
                  <a:ext uri="{FF2B5EF4-FFF2-40B4-BE49-F238E27FC236}">
                    <a16:creationId xmlns:a16="http://schemas.microsoft.com/office/drawing/2014/main" id="{42772DE0-1ED5-4C03-AB3D-8DCEA92A19B6}"/>
                  </a:ext>
                </a:extLst>
              </p:cNvPr>
              <p:cNvCxnSpPr>
                <a:cxnSpLocks/>
              </p:cNvCxnSpPr>
              <p:nvPr/>
            </p:nvCxnSpPr>
            <p:spPr>
              <a:xfrm flipH="1">
                <a:off x="2847975" y="3892710"/>
                <a:ext cx="61913" cy="0"/>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568BE4CE-4530-4F60-8403-EC340A261A6D}"/>
                  </a:ext>
                </a:extLst>
              </p:cNvPr>
              <p:cNvCxnSpPr>
                <a:cxnSpLocks/>
              </p:cNvCxnSpPr>
              <p:nvPr/>
            </p:nvCxnSpPr>
            <p:spPr>
              <a:xfrm flipH="1">
                <a:off x="2830830" y="3806633"/>
                <a:ext cx="61913" cy="0"/>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grpSp>
        <p:grpSp>
          <p:nvGrpSpPr>
            <p:cNvPr id="353" name="Group 352">
              <a:extLst>
                <a:ext uri="{FF2B5EF4-FFF2-40B4-BE49-F238E27FC236}">
                  <a16:creationId xmlns:a16="http://schemas.microsoft.com/office/drawing/2014/main" id="{939E1A4A-1B0E-4A03-8C9C-AAFC7DB700EB}"/>
                </a:ext>
              </a:extLst>
            </p:cNvPr>
            <p:cNvGrpSpPr/>
            <p:nvPr/>
          </p:nvGrpSpPr>
          <p:grpSpPr>
            <a:xfrm>
              <a:off x="6774087" y="4031809"/>
              <a:ext cx="630554" cy="479242"/>
              <a:chOff x="6774087" y="4031809"/>
              <a:chExt cx="630554" cy="479242"/>
            </a:xfrm>
          </p:grpSpPr>
          <p:sp>
            <p:nvSpPr>
              <p:cNvPr id="354" name="Freeform: Shape 353">
                <a:extLst>
                  <a:ext uri="{FF2B5EF4-FFF2-40B4-BE49-F238E27FC236}">
                    <a16:creationId xmlns:a16="http://schemas.microsoft.com/office/drawing/2014/main" id="{F03BEAEF-AB60-4572-B3BB-DD32B30DF63E}"/>
                  </a:ext>
                </a:extLst>
              </p:cNvPr>
              <p:cNvSpPr/>
              <p:nvPr/>
            </p:nvSpPr>
            <p:spPr>
              <a:xfrm>
                <a:off x="7270432" y="4031809"/>
                <a:ext cx="134209" cy="479242"/>
              </a:xfrm>
              <a:custGeom>
                <a:avLst/>
                <a:gdLst>
                  <a:gd name="connsiteX0" fmla="*/ 0 w 944880"/>
                  <a:gd name="connsiteY0" fmla="*/ 0 h 668020"/>
                  <a:gd name="connsiteX1" fmla="*/ 944880 w 944880"/>
                  <a:gd name="connsiteY1" fmla="*/ 0 h 668020"/>
                  <a:gd name="connsiteX2" fmla="*/ 944880 w 944880"/>
                  <a:gd name="connsiteY2" fmla="*/ 668020 h 668020"/>
                </a:gdLst>
                <a:ahLst/>
                <a:cxnLst>
                  <a:cxn ang="0">
                    <a:pos x="connsiteX0" y="connsiteY0"/>
                  </a:cxn>
                  <a:cxn ang="0">
                    <a:pos x="connsiteX1" y="connsiteY1"/>
                  </a:cxn>
                  <a:cxn ang="0">
                    <a:pos x="connsiteX2" y="connsiteY2"/>
                  </a:cxn>
                </a:cxnLst>
                <a:rect l="l" t="t" r="r" b="b"/>
                <a:pathLst>
                  <a:path w="944880" h="668020">
                    <a:moveTo>
                      <a:pt x="0" y="0"/>
                    </a:moveTo>
                    <a:lnTo>
                      <a:pt x="944880" y="0"/>
                    </a:lnTo>
                    <a:lnTo>
                      <a:pt x="944880" y="668020"/>
                    </a:lnTo>
                  </a:path>
                </a:pathLst>
              </a:cu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5" name="Freeform: Shape 354">
                <a:extLst>
                  <a:ext uri="{FF2B5EF4-FFF2-40B4-BE49-F238E27FC236}">
                    <a16:creationId xmlns:a16="http://schemas.microsoft.com/office/drawing/2014/main" id="{96D0996D-60A6-4928-BCD8-E9E7E05F3545}"/>
                  </a:ext>
                </a:extLst>
              </p:cNvPr>
              <p:cNvSpPr/>
              <p:nvPr/>
            </p:nvSpPr>
            <p:spPr>
              <a:xfrm>
                <a:off x="6774087" y="4031809"/>
                <a:ext cx="486052" cy="479242"/>
              </a:xfrm>
              <a:custGeom>
                <a:avLst/>
                <a:gdLst>
                  <a:gd name="connsiteX0" fmla="*/ 0 w 944880"/>
                  <a:gd name="connsiteY0" fmla="*/ 0 h 668020"/>
                  <a:gd name="connsiteX1" fmla="*/ 944880 w 944880"/>
                  <a:gd name="connsiteY1" fmla="*/ 0 h 668020"/>
                  <a:gd name="connsiteX2" fmla="*/ 944880 w 944880"/>
                  <a:gd name="connsiteY2" fmla="*/ 668020 h 668020"/>
                </a:gdLst>
                <a:ahLst/>
                <a:cxnLst>
                  <a:cxn ang="0">
                    <a:pos x="connsiteX0" y="connsiteY0"/>
                  </a:cxn>
                  <a:cxn ang="0">
                    <a:pos x="connsiteX1" y="connsiteY1"/>
                  </a:cxn>
                  <a:cxn ang="0">
                    <a:pos x="connsiteX2" y="connsiteY2"/>
                  </a:cxn>
                </a:cxnLst>
                <a:rect l="l" t="t" r="r" b="b"/>
                <a:pathLst>
                  <a:path w="944880" h="668020">
                    <a:moveTo>
                      <a:pt x="0" y="0"/>
                    </a:moveTo>
                    <a:lnTo>
                      <a:pt x="944880" y="0"/>
                    </a:lnTo>
                    <a:lnTo>
                      <a:pt x="944880" y="668020"/>
                    </a:lnTo>
                  </a:path>
                </a:pathLst>
              </a:cu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392" name="Group 391">
            <a:extLst>
              <a:ext uri="{FF2B5EF4-FFF2-40B4-BE49-F238E27FC236}">
                <a16:creationId xmlns:a16="http://schemas.microsoft.com/office/drawing/2014/main" id="{CEE23CE3-7BB1-4CCF-922A-009A611614A2}"/>
              </a:ext>
            </a:extLst>
          </p:cNvPr>
          <p:cNvGrpSpPr/>
          <p:nvPr/>
        </p:nvGrpSpPr>
        <p:grpSpPr>
          <a:xfrm>
            <a:off x="5095866" y="1256668"/>
            <a:ext cx="3776732" cy="1902705"/>
            <a:chOff x="972992" y="1242765"/>
            <a:chExt cx="3776732" cy="1902705"/>
          </a:xfrm>
        </p:grpSpPr>
        <p:graphicFrame>
          <p:nvGraphicFramePr>
            <p:cNvPr id="393" name="Chart 392">
              <a:extLst>
                <a:ext uri="{FF2B5EF4-FFF2-40B4-BE49-F238E27FC236}">
                  <a16:creationId xmlns:a16="http://schemas.microsoft.com/office/drawing/2014/main" id="{7A1054E2-0E23-4A72-AE27-5527B3FEEF5A}"/>
                </a:ext>
              </a:extLst>
            </p:cNvPr>
            <p:cNvGraphicFramePr/>
            <p:nvPr>
              <p:extLst>
                <p:ext uri="{D42A27DB-BD31-4B8C-83A1-F6EECF244321}">
                  <p14:modId xmlns:p14="http://schemas.microsoft.com/office/powerpoint/2010/main" val="33325709"/>
                </p:ext>
              </p:extLst>
            </p:nvPr>
          </p:nvGraphicFramePr>
          <p:xfrm>
            <a:off x="1933761" y="1320800"/>
            <a:ext cx="2815962" cy="123291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4" name="Chart 393">
              <a:extLst>
                <a:ext uri="{FF2B5EF4-FFF2-40B4-BE49-F238E27FC236}">
                  <a16:creationId xmlns:a16="http://schemas.microsoft.com/office/drawing/2014/main" id="{5BBBB7A9-640A-4C10-AC9D-67F51B45FBED}"/>
                </a:ext>
              </a:extLst>
            </p:cNvPr>
            <p:cNvGraphicFramePr/>
            <p:nvPr/>
          </p:nvGraphicFramePr>
          <p:xfrm>
            <a:off x="2089097" y="2642298"/>
            <a:ext cx="2660627" cy="503172"/>
          </p:xfrm>
          <a:graphic>
            <a:graphicData uri="http://schemas.openxmlformats.org/drawingml/2006/chart">
              <c:chart xmlns:c="http://schemas.openxmlformats.org/drawingml/2006/chart" xmlns:r="http://schemas.openxmlformats.org/officeDocument/2006/relationships" r:id="rId8"/>
            </a:graphicData>
          </a:graphic>
        </p:graphicFrame>
        <p:grpSp>
          <p:nvGrpSpPr>
            <p:cNvPr id="395" name="Group 394">
              <a:extLst>
                <a:ext uri="{FF2B5EF4-FFF2-40B4-BE49-F238E27FC236}">
                  <a16:creationId xmlns:a16="http://schemas.microsoft.com/office/drawing/2014/main" id="{C22B972A-225E-42B5-9820-C71268351CF2}"/>
                </a:ext>
              </a:extLst>
            </p:cNvPr>
            <p:cNvGrpSpPr/>
            <p:nvPr/>
          </p:nvGrpSpPr>
          <p:grpSpPr>
            <a:xfrm>
              <a:off x="2089096" y="2647507"/>
              <a:ext cx="2654532" cy="300082"/>
              <a:chOff x="2089094" y="2558924"/>
              <a:chExt cx="2654532" cy="300082"/>
            </a:xfrm>
          </p:grpSpPr>
          <p:sp>
            <p:nvSpPr>
              <p:cNvPr id="443" name="TextBox 442">
                <a:extLst>
                  <a:ext uri="{FF2B5EF4-FFF2-40B4-BE49-F238E27FC236}">
                    <a16:creationId xmlns:a16="http://schemas.microsoft.com/office/drawing/2014/main" id="{89325162-936B-4448-876D-A0406530A5C6}"/>
                  </a:ext>
                </a:extLst>
              </p:cNvPr>
              <p:cNvSpPr txBox="1"/>
              <p:nvPr/>
            </p:nvSpPr>
            <p:spPr>
              <a:xfrm>
                <a:off x="2089094" y="2558924"/>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71</a:t>
                </a:r>
              </a:p>
            </p:txBody>
          </p:sp>
          <p:sp>
            <p:nvSpPr>
              <p:cNvPr id="444" name="TextBox 443">
                <a:extLst>
                  <a:ext uri="{FF2B5EF4-FFF2-40B4-BE49-F238E27FC236}">
                    <a16:creationId xmlns:a16="http://schemas.microsoft.com/office/drawing/2014/main" id="{9DD72B40-BB25-4438-81D8-EE3F6D1F56A2}"/>
                  </a:ext>
                </a:extLst>
              </p:cNvPr>
              <p:cNvSpPr txBox="1"/>
              <p:nvPr/>
            </p:nvSpPr>
            <p:spPr>
              <a:xfrm>
                <a:off x="2089094" y="2658951"/>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32</a:t>
                </a:r>
              </a:p>
            </p:txBody>
          </p:sp>
          <p:sp>
            <p:nvSpPr>
              <p:cNvPr id="445" name="TextBox 444">
                <a:extLst>
                  <a:ext uri="{FF2B5EF4-FFF2-40B4-BE49-F238E27FC236}">
                    <a16:creationId xmlns:a16="http://schemas.microsoft.com/office/drawing/2014/main" id="{A094B208-3ABB-4F4D-B165-384D9837691B}"/>
                  </a:ext>
                </a:extLst>
              </p:cNvPr>
              <p:cNvSpPr txBox="1"/>
              <p:nvPr/>
            </p:nvSpPr>
            <p:spPr>
              <a:xfrm>
                <a:off x="2649926" y="2558924"/>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49</a:t>
                </a:r>
              </a:p>
            </p:txBody>
          </p:sp>
          <p:sp>
            <p:nvSpPr>
              <p:cNvPr id="446" name="TextBox 445">
                <a:extLst>
                  <a:ext uri="{FF2B5EF4-FFF2-40B4-BE49-F238E27FC236}">
                    <a16:creationId xmlns:a16="http://schemas.microsoft.com/office/drawing/2014/main" id="{D374BA0E-4D9B-4A0E-96E8-0AEEAC3B9CB9}"/>
                  </a:ext>
                </a:extLst>
              </p:cNvPr>
              <p:cNvSpPr txBox="1"/>
              <p:nvPr/>
            </p:nvSpPr>
            <p:spPr>
              <a:xfrm>
                <a:off x="2649926" y="2658951"/>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18</a:t>
                </a:r>
              </a:p>
            </p:txBody>
          </p:sp>
          <p:sp>
            <p:nvSpPr>
              <p:cNvPr id="447" name="TextBox 446">
                <a:extLst>
                  <a:ext uri="{FF2B5EF4-FFF2-40B4-BE49-F238E27FC236}">
                    <a16:creationId xmlns:a16="http://schemas.microsoft.com/office/drawing/2014/main" id="{821BA3B2-EF67-4F0B-A66F-93171D30BC32}"/>
                  </a:ext>
                </a:extLst>
              </p:cNvPr>
              <p:cNvSpPr txBox="1"/>
              <p:nvPr/>
            </p:nvSpPr>
            <p:spPr>
              <a:xfrm>
                <a:off x="3247334" y="2558924"/>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15</a:t>
                </a:r>
              </a:p>
            </p:txBody>
          </p:sp>
          <p:sp>
            <p:nvSpPr>
              <p:cNvPr id="448" name="TextBox 447">
                <a:extLst>
                  <a:ext uri="{FF2B5EF4-FFF2-40B4-BE49-F238E27FC236}">
                    <a16:creationId xmlns:a16="http://schemas.microsoft.com/office/drawing/2014/main" id="{F93CA4BB-0958-4F2D-86AD-CB9830025F77}"/>
                  </a:ext>
                </a:extLst>
              </p:cNvPr>
              <p:cNvSpPr txBox="1"/>
              <p:nvPr/>
            </p:nvSpPr>
            <p:spPr>
              <a:xfrm>
                <a:off x="3247334" y="2658951"/>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4</a:t>
                </a:r>
              </a:p>
            </p:txBody>
          </p:sp>
          <p:sp>
            <p:nvSpPr>
              <p:cNvPr id="449" name="TextBox 448">
                <a:extLst>
                  <a:ext uri="{FF2B5EF4-FFF2-40B4-BE49-F238E27FC236}">
                    <a16:creationId xmlns:a16="http://schemas.microsoft.com/office/drawing/2014/main" id="{B5007572-CD88-4332-BE5C-D61E7459256C}"/>
                  </a:ext>
                </a:extLst>
              </p:cNvPr>
              <p:cNvSpPr txBox="1"/>
              <p:nvPr/>
            </p:nvSpPr>
            <p:spPr>
              <a:xfrm>
                <a:off x="3823268" y="2558924"/>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2</a:t>
                </a:r>
              </a:p>
            </p:txBody>
          </p:sp>
          <p:sp>
            <p:nvSpPr>
              <p:cNvPr id="450" name="TextBox 449">
                <a:extLst>
                  <a:ext uri="{FF2B5EF4-FFF2-40B4-BE49-F238E27FC236}">
                    <a16:creationId xmlns:a16="http://schemas.microsoft.com/office/drawing/2014/main" id="{B71FAD23-30E1-4E67-9264-D6156861F72A}"/>
                  </a:ext>
                </a:extLst>
              </p:cNvPr>
              <p:cNvSpPr txBox="1"/>
              <p:nvPr/>
            </p:nvSpPr>
            <p:spPr>
              <a:xfrm>
                <a:off x="3823268" y="2658951"/>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1</a:t>
                </a:r>
              </a:p>
            </p:txBody>
          </p:sp>
          <p:sp>
            <p:nvSpPr>
              <p:cNvPr id="451" name="TextBox 450">
                <a:extLst>
                  <a:ext uri="{FF2B5EF4-FFF2-40B4-BE49-F238E27FC236}">
                    <a16:creationId xmlns:a16="http://schemas.microsoft.com/office/drawing/2014/main" id="{1C127D1C-62A2-4E32-92C3-E137BF9B6485}"/>
                  </a:ext>
                </a:extLst>
              </p:cNvPr>
              <p:cNvSpPr txBox="1"/>
              <p:nvPr/>
            </p:nvSpPr>
            <p:spPr>
              <a:xfrm>
                <a:off x="4393106" y="2558924"/>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0</a:t>
                </a:r>
              </a:p>
            </p:txBody>
          </p:sp>
          <p:sp>
            <p:nvSpPr>
              <p:cNvPr id="452" name="TextBox 451">
                <a:extLst>
                  <a:ext uri="{FF2B5EF4-FFF2-40B4-BE49-F238E27FC236}">
                    <a16:creationId xmlns:a16="http://schemas.microsoft.com/office/drawing/2014/main" id="{53901FC8-0796-4791-84BE-20DEEB7A569D}"/>
                  </a:ext>
                </a:extLst>
              </p:cNvPr>
              <p:cNvSpPr txBox="1"/>
              <p:nvPr/>
            </p:nvSpPr>
            <p:spPr>
              <a:xfrm>
                <a:off x="4393106" y="2658951"/>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0</a:t>
                </a:r>
              </a:p>
            </p:txBody>
          </p:sp>
        </p:grpSp>
        <p:sp>
          <p:nvSpPr>
            <p:cNvPr id="396" name="TextBox 395">
              <a:extLst>
                <a:ext uri="{FF2B5EF4-FFF2-40B4-BE49-F238E27FC236}">
                  <a16:creationId xmlns:a16="http://schemas.microsoft.com/office/drawing/2014/main" id="{E78E1CA6-88BC-4B82-A051-49AB91AAA0EC}"/>
                </a:ext>
              </a:extLst>
            </p:cNvPr>
            <p:cNvSpPr txBox="1"/>
            <p:nvPr/>
          </p:nvSpPr>
          <p:spPr>
            <a:xfrm rot="16200000">
              <a:off x="1618829" y="1794844"/>
              <a:ext cx="50907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OS</a:t>
              </a:r>
            </a:p>
          </p:txBody>
        </p:sp>
        <p:sp>
          <p:nvSpPr>
            <p:cNvPr id="397" name="TextBox 396">
              <a:extLst>
                <a:ext uri="{FF2B5EF4-FFF2-40B4-BE49-F238E27FC236}">
                  <a16:creationId xmlns:a16="http://schemas.microsoft.com/office/drawing/2014/main" id="{75B9F595-8934-4EB7-8D14-3311676AFCB3}"/>
                </a:ext>
              </a:extLst>
            </p:cNvPr>
            <p:cNvSpPr txBox="1"/>
            <p:nvPr/>
          </p:nvSpPr>
          <p:spPr>
            <a:xfrm>
              <a:off x="2952704" y="2434237"/>
              <a:ext cx="95908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Time (Months)</a:t>
              </a:r>
            </a:p>
          </p:txBody>
        </p:sp>
        <p:sp>
          <p:nvSpPr>
            <p:cNvPr id="398" name="TextBox 397">
              <a:extLst>
                <a:ext uri="{FF2B5EF4-FFF2-40B4-BE49-F238E27FC236}">
                  <a16:creationId xmlns:a16="http://schemas.microsoft.com/office/drawing/2014/main" id="{89425038-A00D-4F16-92A9-3A3AD6A29415}"/>
                </a:ext>
              </a:extLst>
            </p:cNvPr>
            <p:cNvSpPr txBox="1"/>
            <p:nvPr/>
          </p:nvSpPr>
          <p:spPr>
            <a:xfrm rot="16200000">
              <a:off x="833868" y="2742044"/>
              <a:ext cx="50907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OS</a:t>
              </a:r>
            </a:p>
          </p:txBody>
        </p:sp>
        <p:grpSp>
          <p:nvGrpSpPr>
            <p:cNvPr id="399" name="Group 398">
              <a:extLst>
                <a:ext uri="{FF2B5EF4-FFF2-40B4-BE49-F238E27FC236}">
                  <a16:creationId xmlns:a16="http://schemas.microsoft.com/office/drawing/2014/main" id="{5893C3C0-3EF8-4BC5-8D5C-ACF2E79F4C20}"/>
                </a:ext>
              </a:extLst>
            </p:cNvPr>
            <p:cNvGrpSpPr/>
            <p:nvPr/>
          </p:nvGrpSpPr>
          <p:grpSpPr>
            <a:xfrm>
              <a:off x="3500324" y="1242765"/>
              <a:ext cx="238760" cy="141658"/>
              <a:chOff x="6372860" y="4911027"/>
              <a:chExt cx="238760" cy="141658"/>
            </a:xfrm>
          </p:grpSpPr>
          <p:cxnSp>
            <p:nvCxnSpPr>
              <p:cNvPr id="439" name="Straight Connector 438">
                <a:extLst>
                  <a:ext uri="{FF2B5EF4-FFF2-40B4-BE49-F238E27FC236}">
                    <a16:creationId xmlns:a16="http://schemas.microsoft.com/office/drawing/2014/main" id="{BC7956B1-6A2B-4854-BB14-002BD41DA0B1}"/>
                  </a:ext>
                </a:extLst>
              </p:cNvPr>
              <p:cNvCxnSpPr/>
              <p:nvPr/>
            </p:nvCxnSpPr>
            <p:spPr>
              <a:xfrm>
                <a:off x="6372860" y="4937389"/>
                <a:ext cx="238760" cy="0"/>
              </a:xfrm>
              <a:prstGeom prst="line">
                <a:avLst/>
              </a:prstGeom>
              <a:ln w="12700">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40" name="Straight Connector 439">
                <a:extLst>
                  <a:ext uri="{FF2B5EF4-FFF2-40B4-BE49-F238E27FC236}">
                    <a16:creationId xmlns:a16="http://schemas.microsoft.com/office/drawing/2014/main" id="{ECF61CDA-11A3-411A-B4B1-9517D2F43A21}"/>
                  </a:ext>
                </a:extLst>
              </p:cNvPr>
              <p:cNvCxnSpPr/>
              <p:nvPr/>
            </p:nvCxnSpPr>
            <p:spPr>
              <a:xfrm>
                <a:off x="6372860" y="5026323"/>
                <a:ext cx="238760" cy="0"/>
              </a:xfrm>
              <a:prstGeom prst="line">
                <a:avLst/>
              </a:prstGeom>
              <a:ln w="12700">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41" name="Straight Connector 440">
                <a:extLst>
                  <a:ext uri="{FF2B5EF4-FFF2-40B4-BE49-F238E27FC236}">
                    <a16:creationId xmlns:a16="http://schemas.microsoft.com/office/drawing/2014/main" id="{AA9E41CF-8A83-47C0-A7B8-C302FA58A489}"/>
                  </a:ext>
                </a:extLst>
              </p:cNvPr>
              <p:cNvCxnSpPr>
                <a:cxnSpLocks/>
              </p:cNvCxnSpPr>
              <p:nvPr/>
            </p:nvCxnSpPr>
            <p:spPr>
              <a:xfrm>
                <a:off x="6492240" y="4911027"/>
                <a:ext cx="0" cy="52724"/>
              </a:xfrm>
              <a:prstGeom prst="line">
                <a:avLst/>
              </a:prstGeom>
              <a:ln w="12700">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FE138392-4A06-482E-AFB7-C15058AFE3C6}"/>
                  </a:ext>
                </a:extLst>
              </p:cNvPr>
              <p:cNvCxnSpPr>
                <a:cxnSpLocks/>
              </p:cNvCxnSpPr>
              <p:nvPr/>
            </p:nvCxnSpPr>
            <p:spPr>
              <a:xfrm>
                <a:off x="6492240" y="4999961"/>
                <a:ext cx="0" cy="52724"/>
              </a:xfrm>
              <a:prstGeom prst="line">
                <a:avLst/>
              </a:prstGeom>
              <a:ln w="12700">
                <a:solidFill>
                  <a:srgbClr val="203661"/>
                </a:solidFill>
              </a:ln>
            </p:spPr>
            <p:style>
              <a:lnRef idx="1">
                <a:schemeClr val="accent1"/>
              </a:lnRef>
              <a:fillRef idx="0">
                <a:schemeClr val="accent1"/>
              </a:fillRef>
              <a:effectRef idx="0">
                <a:schemeClr val="accent1"/>
              </a:effectRef>
              <a:fontRef idx="minor">
                <a:schemeClr val="tx1"/>
              </a:fontRef>
            </p:style>
          </p:cxnSp>
        </p:grpSp>
        <p:sp>
          <p:nvSpPr>
            <p:cNvPr id="400" name="TextBox 399">
              <a:extLst>
                <a:ext uri="{FF2B5EF4-FFF2-40B4-BE49-F238E27FC236}">
                  <a16:creationId xmlns:a16="http://schemas.microsoft.com/office/drawing/2014/main" id="{FE2C1350-2BA6-48AD-B443-F66334CE5E11}"/>
                </a:ext>
              </a:extLst>
            </p:cNvPr>
            <p:cNvSpPr txBox="1"/>
            <p:nvPr/>
          </p:nvSpPr>
          <p:spPr>
            <a:xfrm>
              <a:off x="2259644" y="2027651"/>
              <a:ext cx="588074"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p=0.14</a:t>
              </a:r>
            </a:p>
          </p:txBody>
        </p:sp>
        <p:grpSp>
          <p:nvGrpSpPr>
            <p:cNvPr id="401" name="Group 400">
              <a:extLst>
                <a:ext uri="{FF2B5EF4-FFF2-40B4-BE49-F238E27FC236}">
                  <a16:creationId xmlns:a16="http://schemas.microsoft.com/office/drawing/2014/main" id="{0EAE43DA-EA49-4C99-AA96-A258516B3194}"/>
                </a:ext>
              </a:extLst>
            </p:cNvPr>
            <p:cNvGrpSpPr/>
            <p:nvPr/>
          </p:nvGrpSpPr>
          <p:grpSpPr>
            <a:xfrm>
              <a:off x="2273745" y="1399849"/>
              <a:ext cx="1812607" cy="932252"/>
              <a:chOff x="6399848" y="1378513"/>
              <a:chExt cx="1812607" cy="932252"/>
            </a:xfrm>
          </p:grpSpPr>
          <p:sp>
            <p:nvSpPr>
              <p:cNvPr id="418" name="Freeform: Shape 417">
                <a:extLst>
                  <a:ext uri="{FF2B5EF4-FFF2-40B4-BE49-F238E27FC236}">
                    <a16:creationId xmlns:a16="http://schemas.microsoft.com/office/drawing/2014/main" id="{2067E9A4-FB19-460D-9FE8-6C51C65BC86C}"/>
                  </a:ext>
                </a:extLst>
              </p:cNvPr>
              <p:cNvSpPr/>
              <p:nvPr/>
            </p:nvSpPr>
            <p:spPr>
              <a:xfrm>
                <a:off x="6399848" y="1409700"/>
                <a:ext cx="1812607" cy="901065"/>
              </a:xfrm>
              <a:custGeom>
                <a:avLst/>
                <a:gdLst>
                  <a:gd name="connsiteX0" fmla="*/ 0 w 1812607"/>
                  <a:gd name="connsiteY0" fmla="*/ 0 h 901065"/>
                  <a:gd name="connsiteX1" fmla="*/ 126682 w 1812607"/>
                  <a:gd name="connsiteY1" fmla="*/ 0 h 901065"/>
                  <a:gd name="connsiteX2" fmla="*/ 126682 w 1812607"/>
                  <a:gd name="connsiteY2" fmla="*/ 12383 h 901065"/>
                  <a:gd name="connsiteX3" fmla="*/ 166687 w 1812607"/>
                  <a:gd name="connsiteY3" fmla="*/ 12383 h 901065"/>
                  <a:gd name="connsiteX4" fmla="*/ 166687 w 1812607"/>
                  <a:gd name="connsiteY4" fmla="*/ 21908 h 901065"/>
                  <a:gd name="connsiteX5" fmla="*/ 236220 w 1812607"/>
                  <a:gd name="connsiteY5" fmla="*/ 21908 h 901065"/>
                  <a:gd name="connsiteX6" fmla="*/ 236220 w 1812607"/>
                  <a:gd name="connsiteY6" fmla="*/ 40005 h 901065"/>
                  <a:gd name="connsiteX7" fmla="*/ 249555 w 1812607"/>
                  <a:gd name="connsiteY7" fmla="*/ 43815 h 901065"/>
                  <a:gd name="connsiteX8" fmla="*/ 279082 w 1812607"/>
                  <a:gd name="connsiteY8" fmla="*/ 43815 h 901065"/>
                  <a:gd name="connsiteX9" fmla="*/ 341947 w 1812607"/>
                  <a:gd name="connsiteY9" fmla="*/ 43815 h 901065"/>
                  <a:gd name="connsiteX10" fmla="*/ 341947 w 1812607"/>
                  <a:gd name="connsiteY10" fmla="*/ 96203 h 901065"/>
                  <a:gd name="connsiteX11" fmla="*/ 390525 w 1812607"/>
                  <a:gd name="connsiteY11" fmla="*/ 96203 h 901065"/>
                  <a:gd name="connsiteX12" fmla="*/ 440055 w 1812607"/>
                  <a:gd name="connsiteY12" fmla="*/ 96203 h 901065"/>
                  <a:gd name="connsiteX13" fmla="*/ 440055 w 1812607"/>
                  <a:gd name="connsiteY13" fmla="*/ 126683 h 901065"/>
                  <a:gd name="connsiteX14" fmla="*/ 459105 w 1812607"/>
                  <a:gd name="connsiteY14" fmla="*/ 127635 h 901065"/>
                  <a:gd name="connsiteX15" fmla="*/ 478155 w 1812607"/>
                  <a:gd name="connsiteY15" fmla="*/ 127635 h 901065"/>
                  <a:gd name="connsiteX16" fmla="*/ 478155 w 1812607"/>
                  <a:gd name="connsiteY16" fmla="*/ 138113 h 901065"/>
                  <a:gd name="connsiteX17" fmla="*/ 508635 w 1812607"/>
                  <a:gd name="connsiteY17" fmla="*/ 138113 h 901065"/>
                  <a:gd name="connsiteX18" fmla="*/ 508635 w 1812607"/>
                  <a:gd name="connsiteY18" fmla="*/ 151448 h 901065"/>
                  <a:gd name="connsiteX19" fmla="*/ 613410 w 1812607"/>
                  <a:gd name="connsiteY19" fmla="*/ 151448 h 901065"/>
                  <a:gd name="connsiteX20" fmla="*/ 613410 w 1812607"/>
                  <a:gd name="connsiteY20" fmla="*/ 176213 h 901065"/>
                  <a:gd name="connsiteX21" fmla="*/ 649605 w 1812607"/>
                  <a:gd name="connsiteY21" fmla="*/ 175260 h 901065"/>
                  <a:gd name="connsiteX22" fmla="*/ 664845 w 1812607"/>
                  <a:gd name="connsiteY22" fmla="*/ 175260 h 901065"/>
                  <a:gd name="connsiteX23" fmla="*/ 664845 w 1812607"/>
                  <a:gd name="connsiteY23" fmla="*/ 206693 h 901065"/>
                  <a:gd name="connsiteX24" fmla="*/ 678180 w 1812607"/>
                  <a:gd name="connsiteY24" fmla="*/ 206693 h 901065"/>
                  <a:gd name="connsiteX25" fmla="*/ 704850 w 1812607"/>
                  <a:gd name="connsiteY25" fmla="*/ 206693 h 901065"/>
                  <a:gd name="connsiteX26" fmla="*/ 716280 w 1812607"/>
                  <a:gd name="connsiteY26" fmla="*/ 218123 h 901065"/>
                  <a:gd name="connsiteX27" fmla="*/ 716280 w 1812607"/>
                  <a:gd name="connsiteY27" fmla="*/ 239078 h 901065"/>
                  <a:gd name="connsiteX28" fmla="*/ 755332 w 1812607"/>
                  <a:gd name="connsiteY28" fmla="*/ 239078 h 901065"/>
                  <a:gd name="connsiteX29" fmla="*/ 755332 w 1812607"/>
                  <a:gd name="connsiteY29" fmla="*/ 262890 h 901065"/>
                  <a:gd name="connsiteX30" fmla="*/ 759142 w 1812607"/>
                  <a:gd name="connsiteY30" fmla="*/ 268605 h 901065"/>
                  <a:gd name="connsiteX31" fmla="*/ 760095 w 1812607"/>
                  <a:gd name="connsiteY31" fmla="*/ 278130 h 901065"/>
                  <a:gd name="connsiteX32" fmla="*/ 769620 w 1812607"/>
                  <a:gd name="connsiteY32" fmla="*/ 287655 h 901065"/>
                  <a:gd name="connsiteX33" fmla="*/ 781050 w 1812607"/>
                  <a:gd name="connsiteY33" fmla="*/ 298133 h 901065"/>
                  <a:gd name="connsiteX34" fmla="*/ 814387 w 1812607"/>
                  <a:gd name="connsiteY34" fmla="*/ 298133 h 901065"/>
                  <a:gd name="connsiteX35" fmla="*/ 814387 w 1812607"/>
                  <a:gd name="connsiteY35" fmla="*/ 310515 h 901065"/>
                  <a:gd name="connsiteX36" fmla="*/ 825817 w 1812607"/>
                  <a:gd name="connsiteY36" fmla="*/ 317183 h 901065"/>
                  <a:gd name="connsiteX37" fmla="*/ 825817 w 1812607"/>
                  <a:gd name="connsiteY37" fmla="*/ 322898 h 901065"/>
                  <a:gd name="connsiteX38" fmla="*/ 837247 w 1812607"/>
                  <a:gd name="connsiteY38" fmla="*/ 322898 h 901065"/>
                  <a:gd name="connsiteX39" fmla="*/ 855345 w 1812607"/>
                  <a:gd name="connsiteY39" fmla="*/ 340996 h 901065"/>
                  <a:gd name="connsiteX40" fmla="*/ 862965 w 1812607"/>
                  <a:gd name="connsiteY40" fmla="*/ 352425 h 901065"/>
                  <a:gd name="connsiteX41" fmla="*/ 871537 w 1812607"/>
                  <a:gd name="connsiteY41" fmla="*/ 360997 h 901065"/>
                  <a:gd name="connsiteX42" fmla="*/ 877252 w 1812607"/>
                  <a:gd name="connsiteY42" fmla="*/ 368618 h 901065"/>
                  <a:gd name="connsiteX43" fmla="*/ 896302 w 1812607"/>
                  <a:gd name="connsiteY43" fmla="*/ 368618 h 901065"/>
                  <a:gd name="connsiteX44" fmla="*/ 906780 w 1812607"/>
                  <a:gd name="connsiteY44" fmla="*/ 379096 h 901065"/>
                  <a:gd name="connsiteX45" fmla="*/ 915352 w 1812607"/>
                  <a:gd name="connsiteY45" fmla="*/ 375285 h 901065"/>
                  <a:gd name="connsiteX46" fmla="*/ 976312 w 1812607"/>
                  <a:gd name="connsiteY46" fmla="*/ 375285 h 901065"/>
                  <a:gd name="connsiteX47" fmla="*/ 976312 w 1812607"/>
                  <a:gd name="connsiteY47" fmla="*/ 393383 h 901065"/>
                  <a:gd name="connsiteX48" fmla="*/ 1077277 w 1812607"/>
                  <a:gd name="connsiteY48" fmla="*/ 393383 h 901065"/>
                  <a:gd name="connsiteX49" fmla="*/ 1072515 w 1812607"/>
                  <a:gd name="connsiteY49" fmla="*/ 411480 h 901065"/>
                  <a:gd name="connsiteX50" fmla="*/ 1072515 w 1812607"/>
                  <a:gd name="connsiteY50" fmla="*/ 423863 h 901065"/>
                  <a:gd name="connsiteX51" fmla="*/ 1100137 w 1812607"/>
                  <a:gd name="connsiteY51" fmla="*/ 423863 h 901065"/>
                  <a:gd name="connsiteX52" fmla="*/ 1100137 w 1812607"/>
                  <a:gd name="connsiteY52" fmla="*/ 462915 h 901065"/>
                  <a:gd name="connsiteX53" fmla="*/ 1127760 w 1812607"/>
                  <a:gd name="connsiteY53" fmla="*/ 462915 h 901065"/>
                  <a:gd name="connsiteX54" fmla="*/ 1123950 w 1812607"/>
                  <a:gd name="connsiteY54" fmla="*/ 478155 h 901065"/>
                  <a:gd name="connsiteX55" fmla="*/ 1123950 w 1812607"/>
                  <a:gd name="connsiteY55" fmla="*/ 486728 h 901065"/>
                  <a:gd name="connsiteX56" fmla="*/ 1211580 w 1812607"/>
                  <a:gd name="connsiteY56" fmla="*/ 486728 h 901065"/>
                  <a:gd name="connsiteX57" fmla="*/ 1211580 w 1812607"/>
                  <a:gd name="connsiteY57" fmla="*/ 516255 h 901065"/>
                  <a:gd name="connsiteX58" fmla="*/ 1812607 w 1812607"/>
                  <a:gd name="connsiteY58" fmla="*/ 516255 h 901065"/>
                  <a:gd name="connsiteX59" fmla="*/ 1812607 w 1812607"/>
                  <a:gd name="connsiteY59" fmla="*/ 901065 h 901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812607" h="901065">
                    <a:moveTo>
                      <a:pt x="0" y="0"/>
                    </a:moveTo>
                    <a:lnTo>
                      <a:pt x="126682" y="0"/>
                    </a:lnTo>
                    <a:lnTo>
                      <a:pt x="126682" y="12383"/>
                    </a:lnTo>
                    <a:lnTo>
                      <a:pt x="166687" y="12383"/>
                    </a:lnTo>
                    <a:lnTo>
                      <a:pt x="166687" y="21908"/>
                    </a:lnTo>
                    <a:lnTo>
                      <a:pt x="236220" y="21908"/>
                    </a:lnTo>
                    <a:lnTo>
                      <a:pt x="236220" y="40005"/>
                    </a:lnTo>
                    <a:cubicBezTo>
                      <a:pt x="246924" y="44287"/>
                      <a:pt x="242325" y="43815"/>
                      <a:pt x="249555" y="43815"/>
                    </a:cubicBezTo>
                    <a:lnTo>
                      <a:pt x="279082" y="43815"/>
                    </a:lnTo>
                    <a:lnTo>
                      <a:pt x="341947" y="43815"/>
                    </a:lnTo>
                    <a:lnTo>
                      <a:pt x="341947" y="96203"/>
                    </a:lnTo>
                    <a:lnTo>
                      <a:pt x="390525" y="96203"/>
                    </a:lnTo>
                    <a:lnTo>
                      <a:pt x="440055" y="96203"/>
                    </a:lnTo>
                    <a:lnTo>
                      <a:pt x="440055" y="126683"/>
                    </a:lnTo>
                    <a:cubicBezTo>
                      <a:pt x="456563" y="127714"/>
                      <a:pt x="450205" y="127635"/>
                      <a:pt x="459105" y="127635"/>
                    </a:cubicBezTo>
                    <a:lnTo>
                      <a:pt x="478155" y="127635"/>
                    </a:lnTo>
                    <a:lnTo>
                      <a:pt x="478155" y="138113"/>
                    </a:lnTo>
                    <a:lnTo>
                      <a:pt x="508635" y="138113"/>
                    </a:lnTo>
                    <a:lnTo>
                      <a:pt x="508635" y="151448"/>
                    </a:lnTo>
                    <a:lnTo>
                      <a:pt x="613410" y="151448"/>
                    </a:lnTo>
                    <a:lnTo>
                      <a:pt x="613410" y="176213"/>
                    </a:lnTo>
                    <a:cubicBezTo>
                      <a:pt x="638795" y="173795"/>
                      <a:pt x="626726" y="173915"/>
                      <a:pt x="649605" y="175260"/>
                    </a:cubicBezTo>
                    <a:lnTo>
                      <a:pt x="664845" y="175260"/>
                    </a:lnTo>
                    <a:lnTo>
                      <a:pt x="664845" y="206693"/>
                    </a:lnTo>
                    <a:lnTo>
                      <a:pt x="678180" y="206693"/>
                    </a:lnTo>
                    <a:lnTo>
                      <a:pt x="704850" y="206693"/>
                    </a:lnTo>
                    <a:lnTo>
                      <a:pt x="716280" y="218123"/>
                    </a:lnTo>
                    <a:lnTo>
                      <a:pt x="716280" y="239078"/>
                    </a:lnTo>
                    <a:lnTo>
                      <a:pt x="755332" y="239078"/>
                    </a:lnTo>
                    <a:lnTo>
                      <a:pt x="755332" y="262890"/>
                    </a:lnTo>
                    <a:lnTo>
                      <a:pt x="759142" y="268605"/>
                    </a:lnTo>
                    <a:cubicBezTo>
                      <a:pt x="759460" y="271780"/>
                      <a:pt x="760095" y="278130"/>
                      <a:pt x="760095" y="278130"/>
                    </a:cubicBezTo>
                    <a:lnTo>
                      <a:pt x="769620" y="287655"/>
                    </a:lnTo>
                    <a:cubicBezTo>
                      <a:pt x="779647" y="297682"/>
                      <a:pt x="775129" y="295171"/>
                      <a:pt x="781050" y="298133"/>
                    </a:cubicBezTo>
                    <a:lnTo>
                      <a:pt x="814387" y="298133"/>
                    </a:lnTo>
                    <a:lnTo>
                      <a:pt x="814387" y="310515"/>
                    </a:lnTo>
                    <a:cubicBezTo>
                      <a:pt x="814985" y="310781"/>
                      <a:pt x="824715" y="313876"/>
                      <a:pt x="825817" y="317183"/>
                    </a:cubicBezTo>
                    <a:cubicBezTo>
                      <a:pt x="826419" y="318990"/>
                      <a:pt x="825817" y="320993"/>
                      <a:pt x="825817" y="322898"/>
                    </a:cubicBezTo>
                    <a:lnTo>
                      <a:pt x="837247" y="322898"/>
                    </a:lnTo>
                    <a:lnTo>
                      <a:pt x="855345" y="340996"/>
                    </a:lnTo>
                    <a:lnTo>
                      <a:pt x="862965" y="352425"/>
                    </a:lnTo>
                    <a:lnTo>
                      <a:pt x="871537" y="360997"/>
                    </a:lnTo>
                    <a:lnTo>
                      <a:pt x="877252" y="368618"/>
                    </a:lnTo>
                    <a:lnTo>
                      <a:pt x="896302" y="368618"/>
                    </a:lnTo>
                    <a:lnTo>
                      <a:pt x="906780" y="379096"/>
                    </a:lnTo>
                    <a:lnTo>
                      <a:pt x="915352" y="375285"/>
                    </a:lnTo>
                    <a:lnTo>
                      <a:pt x="976312" y="375285"/>
                    </a:lnTo>
                    <a:lnTo>
                      <a:pt x="976312" y="393383"/>
                    </a:lnTo>
                    <a:lnTo>
                      <a:pt x="1077277" y="393383"/>
                    </a:lnTo>
                    <a:cubicBezTo>
                      <a:pt x="1071464" y="406172"/>
                      <a:pt x="1072515" y="400024"/>
                      <a:pt x="1072515" y="411480"/>
                    </a:cubicBezTo>
                    <a:lnTo>
                      <a:pt x="1072515" y="423863"/>
                    </a:lnTo>
                    <a:lnTo>
                      <a:pt x="1100137" y="423863"/>
                    </a:lnTo>
                    <a:lnTo>
                      <a:pt x="1100137" y="462915"/>
                    </a:lnTo>
                    <a:lnTo>
                      <a:pt x="1127760" y="462915"/>
                    </a:lnTo>
                    <a:cubicBezTo>
                      <a:pt x="1126595" y="474559"/>
                      <a:pt x="1128234" y="469586"/>
                      <a:pt x="1123950" y="478155"/>
                    </a:cubicBezTo>
                    <a:lnTo>
                      <a:pt x="1123950" y="486728"/>
                    </a:lnTo>
                    <a:lnTo>
                      <a:pt x="1211580" y="486728"/>
                    </a:lnTo>
                    <a:lnTo>
                      <a:pt x="1211580" y="516255"/>
                    </a:lnTo>
                    <a:lnTo>
                      <a:pt x="1812607" y="516255"/>
                    </a:lnTo>
                    <a:lnTo>
                      <a:pt x="1812607" y="901065"/>
                    </a:lnTo>
                  </a:path>
                </a:pathLst>
              </a:custGeom>
              <a:noFill/>
              <a:ln w="9525">
                <a:solidFill>
                  <a:srgbClr val="0083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419" name="Straight Connector 418">
                <a:extLst>
                  <a:ext uri="{FF2B5EF4-FFF2-40B4-BE49-F238E27FC236}">
                    <a16:creationId xmlns:a16="http://schemas.microsoft.com/office/drawing/2014/main" id="{D7AED1E9-17E7-4CE3-B54A-998B1C704F66}"/>
                  </a:ext>
                </a:extLst>
              </p:cNvPr>
              <p:cNvCxnSpPr>
                <a:cxnSpLocks/>
              </p:cNvCxnSpPr>
              <p:nvPr/>
            </p:nvCxnSpPr>
            <p:spPr>
              <a:xfrm>
                <a:off x="8155305" y="1901190"/>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20" name="Straight Connector 419">
                <a:extLst>
                  <a:ext uri="{FF2B5EF4-FFF2-40B4-BE49-F238E27FC236}">
                    <a16:creationId xmlns:a16="http://schemas.microsoft.com/office/drawing/2014/main" id="{7676A4EB-7D23-4CC0-8FCA-1CB611566FE0}"/>
                  </a:ext>
                </a:extLst>
              </p:cNvPr>
              <p:cNvCxnSpPr>
                <a:cxnSpLocks/>
              </p:cNvCxnSpPr>
              <p:nvPr/>
            </p:nvCxnSpPr>
            <p:spPr>
              <a:xfrm>
                <a:off x="7992427" y="1901190"/>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21" name="Straight Connector 420">
                <a:extLst>
                  <a:ext uri="{FF2B5EF4-FFF2-40B4-BE49-F238E27FC236}">
                    <a16:creationId xmlns:a16="http://schemas.microsoft.com/office/drawing/2014/main" id="{96E9353A-4191-4BFD-AB44-939508630F6A}"/>
                  </a:ext>
                </a:extLst>
              </p:cNvPr>
              <p:cNvCxnSpPr>
                <a:cxnSpLocks/>
              </p:cNvCxnSpPr>
              <p:nvPr/>
            </p:nvCxnSpPr>
            <p:spPr>
              <a:xfrm>
                <a:off x="7924799" y="1901190"/>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769BAF19-273D-4BAE-8451-C33EB70B1FC4}"/>
                  </a:ext>
                </a:extLst>
              </p:cNvPr>
              <p:cNvCxnSpPr>
                <a:cxnSpLocks/>
              </p:cNvCxnSpPr>
              <p:nvPr/>
            </p:nvCxnSpPr>
            <p:spPr>
              <a:xfrm>
                <a:off x="7861934" y="1901190"/>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23" name="Straight Connector 422">
                <a:extLst>
                  <a:ext uri="{FF2B5EF4-FFF2-40B4-BE49-F238E27FC236}">
                    <a16:creationId xmlns:a16="http://schemas.microsoft.com/office/drawing/2014/main" id="{D050A367-DA5A-4889-AAA3-07AC56DEC778}"/>
                  </a:ext>
                </a:extLst>
              </p:cNvPr>
              <p:cNvCxnSpPr>
                <a:cxnSpLocks/>
              </p:cNvCxnSpPr>
              <p:nvPr/>
            </p:nvCxnSpPr>
            <p:spPr>
              <a:xfrm>
                <a:off x="7842884" y="1901190"/>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6E3DF128-9541-4AC0-BBA5-FE47C9BBC69C}"/>
                  </a:ext>
                </a:extLst>
              </p:cNvPr>
              <p:cNvCxnSpPr>
                <a:cxnSpLocks/>
              </p:cNvCxnSpPr>
              <p:nvPr/>
            </p:nvCxnSpPr>
            <p:spPr>
              <a:xfrm>
                <a:off x="7803831" y="1901190"/>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1349BA54-501B-4E6B-A767-9E2B56204707}"/>
                  </a:ext>
                </a:extLst>
              </p:cNvPr>
              <p:cNvCxnSpPr>
                <a:cxnSpLocks/>
              </p:cNvCxnSpPr>
              <p:nvPr/>
            </p:nvCxnSpPr>
            <p:spPr>
              <a:xfrm>
                <a:off x="7781924" y="1901190"/>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6038A3F5-A628-4544-91CC-AEF780BDEAE0}"/>
                  </a:ext>
                </a:extLst>
              </p:cNvPr>
              <p:cNvCxnSpPr>
                <a:cxnSpLocks/>
              </p:cNvCxnSpPr>
              <p:nvPr/>
            </p:nvCxnSpPr>
            <p:spPr>
              <a:xfrm>
                <a:off x="7747634" y="1901190"/>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27" name="Straight Connector 426">
                <a:extLst>
                  <a:ext uri="{FF2B5EF4-FFF2-40B4-BE49-F238E27FC236}">
                    <a16:creationId xmlns:a16="http://schemas.microsoft.com/office/drawing/2014/main" id="{519C1336-200F-4D4D-B727-961837853F70}"/>
                  </a:ext>
                </a:extLst>
              </p:cNvPr>
              <p:cNvCxnSpPr>
                <a:cxnSpLocks/>
              </p:cNvCxnSpPr>
              <p:nvPr/>
            </p:nvCxnSpPr>
            <p:spPr>
              <a:xfrm>
                <a:off x="7640954" y="1901190"/>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FBB900E0-060D-4E56-9692-F1296399E779}"/>
                  </a:ext>
                </a:extLst>
              </p:cNvPr>
              <p:cNvCxnSpPr>
                <a:cxnSpLocks/>
              </p:cNvCxnSpPr>
              <p:nvPr/>
            </p:nvCxnSpPr>
            <p:spPr>
              <a:xfrm>
                <a:off x="7591424" y="1865947"/>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29" name="Straight Connector 428">
                <a:extLst>
                  <a:ext uri="{FF2B5EF4-FFF2-40B4-BE49-F238E27FC236}">
                    <a16:creationId xmlns:a16="http://schemas.microsoft.com/office/drawing/2014/main" id="{7AD71222-3172-4FCD-A66F-04DB1B1D3872}"/>
                  </a:ext>
                </a:extLst>
              </p:cNvPr>
              <p:cNvCxnSpPr>
                <a:cxnSpLocks/>
              </p:cNvCxnSpPr>
              <p:nvPr/>
            </p:nvCxnSpPr>
            <p:spPr>
              <a:xfrm>
                <a:off x="7569516" y="1865947"/>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EB6777DA-6CE5-4599-AF43-C0D4ED53C2B7}"/>
                  </a:ext>
                </a:extLst>
              </p:cNvPr>
              <p:cNvCxnSpPr>
                <a:cxnSpLocks/>
              </p:cNvCxnSpPr>
              <p:nvPr/>
            </p:nvCxnSpPr>
            <p:spPr>
              <a:xfrm>
                <a:off x="7449501" y="1778317"/>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31" name="Straight Connector 430">
                <a:extLst>
                  <a:ext uri="{FF2B5EF4-FFF2-40B4-BE49-F238E27FC236}">
                    <a16:creationId xmlns:a16="http://schemas.microsoft.com/office/drawing/2014/main" id="{FD78DDC8-EAD2-471D-ABA4-B4C09C74DF68}"/>
                  </a:ext>
                </a:extLst>
              </p:cNvPr>
              <p:cNvCxnSpPr>
                <a:cxnSpLocks/>
              </p:cNvCxnSpPr>
              <p:nvPr/>
            </p:nvCxnSpPr>
            <p:spPr>
              <a:xfrm>
                <a:off x="7299006" y="1751647"/>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441AE7FD-0C98-4639-9B0F-A4F0B3B54E76}"/>
                  </a:ext>
                </a:extLst>
              </p:cNvPr>
              <p:cNvCxnSpPr>
                <a:cxnSpLocks/>
              </p:cNvCxnSpPr>
              <p:nvPr/>
            </p:nvCxnSpPr>
            <p:spPr>
              <a:xfrm>
                <a:off x="7084693" y="1581149"/>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021CF092-DBEB-4638-8B70-9CACAEAD8553}"/>
                  </a:ext>
                </a:extLst>
              </p:cNvPr>
              <p:cNvCxnSpPr>
                <a:cxnSpLocks/>
              </p:cNvCxnSpPr>
              <p:nvPr/>
            </p:nvCxnSpPr>
            <p:spPr>
              <a:xfrm>
                <a:off x="7049451" y="1557336"/>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97401772-C488-46E4-AD76-AD01C1AE8B5C}"/>
                  </a:ext>
                </a:extLst>
              </p:cNvPr>
              <p:cNvCxnSpPr>
                <a:cxnSpLocks/>
              </p:cNvCxnSpPr>
              <p:nvPr/>
            </p:nvCxnSpPr>
            <p:spPr>
              <a:xfrm>
                <a:off x="7022781" y="1553526"/>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35" name="Straight Connector 434">
                <a:extLst>
                  <a:ext uri="{FF2B5EF4-FFF2-40B4-BE49-F238E27FC236}">
                    <a16:creationId xmlns:a16="http://schemas.microsoft.com/office/drawing/2014/main" id="{22CF7DC7-25C3-4852-B88D-774E8C65C7D4}"/>
                  </a:ext>
                </a:extLst>
              </p:cNvPr>
              <p:cNvCxnSpPr>
                <a:cxnSpLocks/>
              </p:cNvCxnSpPr>
              <p:nvPr/>
            </p:nvCxnSpPr>
            <p:spPr>
              <a:xfrm>
                <a:off x="6857046" y="1502091"/>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36" name="Straight Connector 435">
                <a:extLst>
                  <a:ext uri="{FF2B5EF4-FFF2-40B4-BE49-F238E27FC236}">
                    <a16:creationId xmlns:a16="http://schemas.microsoft.com/office/drawing/2014/main" id="{60B46470-A806-4606-B8E6-BB46A7A9CE48}"/>
                  </a:ext>
                </a:extLst>
              </p:cNvPr>
              <p:cNvCxnSpPr>
                <a:cxnSpLocks/>
              </p:cNvCxnSpPr>
              <p:nvPr/>
            </p:nvCxnSpPr>
            <p:spPr>
              <a:xfrm>
                <a:off x="6765606" y="1467801"/>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37" name="Straight Connector 436">
                <a:extLst>
                  <a:ext uri="{FF2B5EF4-FFF2-40B4-BE49-F238E27FC236}">
                    <a16:creationId xmlns:a16="http://schemas.microsoft.com/office/drawing/2014/main" id="{69007C8B-96BF-405C-B938-D4D4B004BD3D}"/>
                  </a:ext>
                </a:extLst>
              </p:cNvPr>
              <p:cNvCxnSpPr>
                <a:cxnSpLocks/>
              </p:cNvCxnSpPr>
              <p:nvPr/>
            </p:nvCxnSpPr>
            <p:spPr>
              <a:xfrm>
                <a:off x="6705599" y="1430901"/>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38" name="Straight Connector 437">
                <a:extLst>
                  <a:ext uri="{FF2B5EF4-FFF2-40B4-BE49-F238E27FC236}">
                    <a16:creationId xmlns:a16="http://schemas.microsoft.com/office/drawing/2014/main" id="{4022FE51-20DF-4E7B-8136-19F98E40374B}"/>
                  </a:ext>
                </a:extLst>
              </p:cNvPr>
              <p:cNvCxnSpPr>
                <a:cxnSpLocks/>
              </p:cNvCxnSpPr>
              <p:nvPr/>
            </p:nvCxnSpPr>
            <p:spPr>
              <a:xfrm>
                <a:off x="6458901" y="1378513"/>
                <a:ext cx="0" cy="5524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grpSp>
        <p:grpSp>
          <p:nvGrpSpPr>
            <p:cNvPr id="402" name="Group 401">
              <a:extLst>
                <a:ext uri="{FF2B5EF4-FFF2-40B4-BE49-F238E27FC236}">
                  <a16:creationId xmlns:a16="http://schemas.microsoft.com/office/drawing/2014/main" id="{24CBF4B8-5DC9-4B8F-A5CE-7F8ABD14BCA5}"/>
                </a:ext>
              </a:extLst>
            </p:cNvPr>
            <p:cNvGrpSpPr/>
            <p:nvPr/>
          </p:nvGrpSpPr>
          <p:grpSpPr>
            <a:xfrm>
              <a:off x="2259644" y="1416000"/>
              <a:ext cx="2226945" cy="921580"/>
              <a:chOff x="6399848" y="1384423"/>
              <a:chExt cx="2226945" cy="921580"/>
            </a:xfrm>
          </p:grpSpPr>
          <p:sp>
            <p:nvSpPr>
              <p:cNvPr id="406" name="Freeform: Shape 405">
                <a:extLst>
                  <a:ext uri="{FF2B5EF4-FFF2-40B4-BE49-F238E27FC236}">
                    <a16:creationId xmlns:a16="http://schemas.microsoft.com/office/drawing/2014/main" id="{8B056E52-5CD8-42A8-BF8F-96D57DD31E34}"/>
                  </a:ext>
                </a:extLst>
              </p:cNvPr>
              <p:cNvSpPr/>
              <p:nvPr/>
            </p:nvSpPr>
            <p:spPr>
              <a:xfrm>
                <a:off x="6399848" y="1405890"/>
                <a:ext cx="2226945" cy="900113"/>
              </a:xfrm>
              <a:custGeom>
                <a:avLst/>
                <a:gdLst>
                  <a:gd name="connsiteX0" fmla="*/ 0 w 2226945"/>
                  <a:gd name="connsiteY0" fmla="*/ 0 h 900113"/>
                  <a:gd name="connsiteX1" fmla="*/ 77152 w 2226945"/>
                  <a:gd name="connsiteY1" fmla="*/ 0 h 900113"/>
                  <a:gd name="connsiteX2" fmla="*/ 77152 w 2226945"/>
                  <a:gd name="connsiteY2" fmla="*/ 32385 h 900113"/>
                  <a:gd name="connsiteX3" fmla="*/ 203835 w 2226945"/>
                  <a:gd name="connsiteY3" fmla="*/ 32385 h 900113"/>
                  <a:gd name="connsiteX4" fmla="*/ 205740 w 2226945"/>
                  <a:gd name="connsiteY4" fmla="*/ 55245 h 900113"/>
                  <a:gd name="connsiteX5" fmla="*/ 213360 w 2226945"/>
                  <a:gd name="connsiteY5" fmla="*/ 60960 h 900113"/>
                  <a:gd name="connsiteX6" fmla="*/ 213360 w 2226945"/>
                  <a:gd name="connsiteY6" fmla="*/ 60960 h 900113"/>
                  <a:gd name="connsiteX7" fmla="*/ 216217 w 2226945"/>
                  <a:gd name="connsiteY7" fmla="*/ 84773 h 900113"/>
                  <a:gd name="connsiteX8" fmla="*/ 274320 w 2226945"/>
                  <a:gd name="connsiteY8" fmla="*/ 87630 h 900113"/>
                  <a:gd name="connsiteX9" fmla="*/ 265747 w 2226945"/>
                  <a:gd name="connsiteY9" fmla="*/ 118110 h 900113"/>
                  <a:gd name="connsiteX10" fmla="*/ 296227 w 2226945"/>
                  <a:gd name="connsiteY10" fmla="*/ 120015 h 900113"/>
                  <a:gd name="connsiteX11" fmla="*/ 296227 w 2226945"/>
                  <a:gd name="connsiteY11" fmla="*/ 148590 h 900113"/>
                  <a:gd name="connsiteX12" fmla="*/ 341947 w 2226945"/>
                  <a:gd name="connsiteY12" fmla="*/ 148590 h 900113"/>
                  <a:gd name="connsiteX13" fmla="*/ 341947 w 2226945"/>
                  <a:gd name="connsiteY13" fmla="*/ 177165 h 900113"/>
                  <a:gd name="connsiteX14" fmla="*/ 356235 w 2226945"/>
                  <a:gd name="connsiteY14" fmla="*/ 191453 h 900113"/>
                  <a:gd name="connsiteX15" fmla="*/ 356235 w 2226945"/>
                  <a:gd name="connsiteY15" fmla="*/ 212408 h 900113"/>
                  <a:gd name="connsiteX16" fmla="*/ 426720 w 2226945"/>
                  <a:gd name="connsiteY16" fmla="*/ 212408 h 900113"/>
                  <a:gd name="connsiteX17" fmla="*/ 426720 w 2226945"/>
                  <a:gd name="connsiteY17" fmla="*/ 240983 h 900113"/>
                  <a:gd name="connsiteX18" fmla="*/ 457200 w 2226945"/>
                  <a:gd name="connsiteY18" fmla="*/ 240983 h 900113"/>
                  <a:gd name="connsiteX19" fmla="*/ 457200 w 2226945"/>
                  <a:gd name="connsiteY19" fmla="*/ 280988 h 900113"/>
                  <a:gd name="connsiteX20" fmla="*/ 517207 w 2226945"/>
                  <a:gd name="connsiteY20" fmla="*/ 280988 h 900113"/>
                  <a:gd name="connsiteX21" fmla="*/ 517207 w 2226945"/>
                  <a:gd name="connsiteY21" fmla="*/ 308610 h 900113"/>
                  <a:gd name="connsiteX22" fmla="*/ 724852 w 2226945"/>
                  <a:gd name="connsiteY22" fmla="*/ 308610 h 900113"/>
                  <a:gd name="connsiteX23" fmla="*/ 724852 w 2226945"/>
                  <a:gd name="connsiteY23" fmla="*/ 354330 h 900113"/>
                  <a:gd name="connsiteX24" fmla="*/ 735330 w 2226945"/>
                  <a:gd name="connsiteY24" fmla="*/ 354330 h 900113"/>
                  <a:gd name="connsiteX25" fmla="*/ 735330 w 2226945"/>
                  <a:gd name="connsiteY25" fmla="*/ 385763 h 900113"/>
                  <a:gd name="connsiteX26" fmla="*/ 770572 w 2226945"/>
                  <a:gd name="connsiteY26" fmla="*/ 385763 h 900113"/>
                  <a:gd name="connsiteX27" fmla="*/ 770572 w 2226945"/>
                  <a:gd name="connsiteY27" fmla="*/ 457200 h 900113"/>
                  <a:gd name="connsiteX28" fmla="*/ 862012 w 2226945"/>
                  <a:gd name="connsiteY28" fmla="*/ 457200 h 900113"/>
                  <a:gd name="connsiteX29" fmla="*/ 862012 w 2226945"/>
                  <a:gd name="connsiteY29" fmla="*/ 468630 h 900113"/>
                  <a:gd name="connsiteX30" fmla="*/ 862012 w 2226945"/>
                  <a:gd name="connsiteY30" fmla="*/ 498158 h 900113"/>
                  <a:gd name="connsiteX31" fmla="*/ 994410 w 2226945"/>
                  <a:gd name="connsiteY31" fmla="*/ 498158 h 900113"/>
                  <a:gd name="connsiteX32" fmla="*/ 994410 w 2226945"/>
                  <a:gd name="connsiteY32" fmla="*/ 552450 h 900113"/>
                  <a:gd name="connsiteX33" fmla="*/ 1048702 w 2226945"/>
                  <a:gd name="connsiteY33" fmla="*/ 552450 h 900113"/>
                  <a:gd name="connsiteX34" fmla="*/ 1048702 w 2226945"/>
                  <a:gd name="connsiteY34" fmla="*/ 620078 h 900113"/>
                  <a:gd name="connsiteX35" fmla="*/ 1370647 w 2226945"/>
                  <a:gd name="connsiteY35" fmla="*/ 620078 h 900113"/>
                  <a:gd name="connsiteX36" fmla="*/ 1370647 w 2226945"/>
                  <a:gd name="connsiteY36" fmla="*/ 690563 h 900113"/>
                  <a:gd name="connsiteX37" fmla="*/ 2226945 w 2226945"/>
                  <a:gd name="connsiteY37" fmla="*/ 690563 h 900113"/>
                  <a:gd name="connsiteX38" fmla="*/ 2226945 w 2226945"/>
                  <a:gd name="connsiteY38" fmla="*/ 699135 h 900113"/>
                  <a:gd name="connsiteX39" fmla="*/ 2226945 w 2226945"/>
                  <a:gd name="connsiteY39" fmla="*/ 900113 h 900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226945" h="900113">
                    <a:moveTo>
                      <a:pt x="0" y="0"/>
                    </a:moveTo>
                    <a:lnTo>
                      <a:pt x="77152" y="0"/>
                    </a:lnTo>
                    <a:lnTo>
                      <a:pt x="77152" y="32385"/>
                    </a:lnTo>
                    <a:lnTo>
                      <a:pt x="203835" y="32385"/>
                    </a:lnTo>
                    <a:lnTo>
                      <a:pt x="205740" y="55245"/>
                    </a:lnTo>
                    <a:lnTo>
                      <a:pt x="213360" y="60960"/>
                    </a:lnTo>
                    <a:lnTo>
                      <a:pt x="213360" y="60960"/>
                    </a:lnTo>
                    <a:lnTo>
                      <a:pt x="216217" y="84773"/>
                    </a:lnTo>
                    <a:lnTo>
                      <a:pt x="274320" y="87630"/>
                    </a:lnTo>
                    <a:lnTo>
                      <a:pt x="265747" y="118110"/>
                    </a:lnTo>
                    <a:lnTo>
                      <a:pt x="296227" y="120015"/>
                    </a:lnTo>
                    <a:lnTo>
                      <a:pt x="296227" y="148590"/>
                    </a:lnTo>
                    <a:lnTo>
                      <a:pt x="341947" y="148590"/>
                    </a:lnTo>
                    <a:lnTo>
                      <a:pt x="341947" y="177165"/>
                    </a:lnTo>
                    <a:lnTo>
                      <a:pt x="356235" y="191453"/>
                    </a:lnTo>
                    <a:lnTo>
                      <a:pt x="356235" y="212408"/>
                    </a:lnTo>
                    <a:lnTo>
                      <a:pt x="426720" y="212408"/>
                    </a:lnTo>
                    <a:lnTo>
                      <a:pt x="426720" y="240983"/>
                    </a:lnTo>
                    <a:lnTo>
                      <a:pt x="457200" y="240983"/>
                    </a:lnTo>
                    <a:lnTo>
                      <a:pt x="457200" y="280988"/>
                    </a:lnTo>
                    <a:lnTo>
                      <a:pt x="517207" y="280988"/>
                    </a:lnTo>
                    <a:lnTo>
                      <a:pt x="517207" y="308610"/>
                    </a:lnTo>
                    <a:lnTo>
                      <a:pt x="724852" y="308610"/>
                    </a:lnTo>
                    <a:lnTo>
                      <a:pt x="724852" y="354330"/>
                    </a:lnTo>
                    <a:lnTo>
                      <a:pt x="735330" y="354330"/>
                    </a:lnTo>
                    <a:lnTo>
                      <a:pt x="735330" y="385763"/>
                    </a:lnTo>
                    <a:lnTo>
                      <a:pt x="770572" y="385763"/>
                    </a:lnTo>
                    <a:lnTo>
                      <a:pt x="770572" y="457200"/>
                    </a:lnTo>
                    <a:lnTo>
                      <a:pt x="862012" y="457200"/>
                    </a:lnTo>
                    <a:lnTo>
                      <a:pt x="862012" y="468630"/>
                    </a:lnTo>
                    <a:lnTo>
                      <a:pt x="862012" y="498158"/>
                    </a:lnTo>
                    <a:lnTo>
                      <a:pt x="994410" y="498158"/>
                    </a:lnTo>
                    <a:lnTo>
                      <a:pt x="994410" y="552450"/>
                    </a:lnTo>
                    <a:lnTo>
                      <a:pt x="1048702" y="552450"/>
                    </a:lnTo>
                    <a:lnTo>
                      <a:pt x="1048702" y="620078"/>
                    </a:lnTo>
                    <a:lnTo>
                      <a:pt x="1370647" y="620078"/>
                    </a:lnTo>
                    <a:lnTo>
                      <a:pt x="1370647" y="690563"/>
                    </a:lnTo>
                    <a:lnTo>
                      <a:pt x="2226945" y="690563"/>
                    </a:lnTo>
                    <a:lnTo>
                      <a:pt x="2226945" y="699135"/>
                    </a:lnTo>
                    <a:lnTo>
                      <a:pt x="2226945" y="900113"/>
                    </a:lnTo>
                  </a:path>
                </a:pathLst>
              </a:custGeom>
              <a:noFill/>
              <a:ln w="9525">
                <a:solidFill>
                  <a:srgbClr val="2036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407" name="Straight Connector 406">
                <a:extLst>
                  <a:ext uri="{FF2B5EF4-FFF2-40B4-BE49-F238E27FC236}">
                    <a16:creationId xmlns:a16="http://schemas.microsoft.com/office/drawing/2014/main" id="{BF140B0F-03C6-4708-A1A1-8BE4FB6CDDEE}"/>
                  </a:ext>
                </a:extLst>
              </p:cNvPr>
              <p:cNvCxnSpPr/>
              <p:nvPr/>
            </p:nvCxnSpPr>
            <p:spPr>
              <a:xfrm>
                <a:off x="7991476" y="2063115"/>
                <a:ext cx="0" cy="56197"/>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08" name="Straight Connector 407">
                <a:extLst>
                  <a:ext uri="{FF2B5EF4-FFF2-40B4-BE49-F238E27FC236}">
                    <a16:creationId xmlns:a16="http://schemas.microsoft.com/office/drawing/2014/main" id="{373EB996-BC01-4120-A058-8195EB27C6B2}"/>
                  </a:ext>
                </a:extLst>
              </p:cNvPr>
              <p:cNvCxnSpPr/>
              <p:nvPr/>
            </p:nvCxnSpPr>
            <p:spPr>
              <a:xfrm>
                <a:off x="7809548" y="2063115"/>
                <a:ext cx="0" cy="56197"/>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09" name="Straight Connector 408">
                <a:extLst>
                  <a:ext uri="{FF2B5EF4-FFF2-40B4-BE49-F238E27FC236}">
                    <a16:creationId xmlns:a16="http://schemas.microsoft.com/office/drawing/2014/main" id="{59937FE3-09F2-479A-B2B4-A717DF4E456A}"/>
                  </a:ext>
                </a:extLst>
              </p:cNvPr>
              <p:cNvCxnSpPr/>
              <p:nvPr/>
            </p:nvCxnSpPr>
            <p:spPr>
              <a:xfrm>
                <a:off x="7374256" y="1866329"/>
                <a:ext cx="0" cy="56197"/>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10" name="Straight Connector 409">
                <a:extLst>
                  <a:ext uri="{FF2B5EF4-FFF2-40B4-BE49-F238E27FC236}">
                    <a16:creationId xmlns:a16="http://schemas.microsoft.com/office/drawing/2014/main" id="{EBE4F617-B7BC-40E9-9FC7-3C8132B19957}"/>
                  </a:ext>
                </a:extLst>
              </p:cNvPr>
              <p:cNvCxnSpPr/>
              <p:nvPr/>
            </p:nvCxnSpPr>
            <p:spPr>
              <a:xfrm>
                <a:off x="7318058" y="1866329"/>
                <a:ext cx="0" cy="56197"/>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11" name="Straight Connector 410">
                <a:extLst>
                  <a:ext uri="{FF2B5EF4-FFF2-40B4-BE49-F238E27FC236}">
                    <a16:creationId xmlns:a16="http://schemas.microsoft.com/office/drawing/2014/main" id="{6B36C61D-475B-4F69-834B-2B9907080890}"/>
                  </a:ext>
                </a:extLst>
              </p:cNvPr>
              <p:cNvCxnSpPr/>
              <p:nvPr/>
            </p:nvCxnSpPr>
            <p:spPr>
              <a:xfrm>
                <a:off x="7094221" y="1688212"/>
                <a:ext cx="0" cy="56197"/>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12" name="Straight Connector 411">
                <a:extLst>
                  <a:ext uri="{FF2B5EF4-FFF2-40B4-BE49-F238E27FC236}">
                    <a16:creationId xmlns:a16="http://schemas.microsoft.com/office/drawing/2014/main" id="{EEE3F38C-3E6C-41DC-AE6E-1E87A1E0B6EA}"/>
                  </a:ext>
                </a:extLst>
              </p:cNvPr>
              <p:cNvCxnSpPr/>
              <p:nvPr/>
            </p:nvCxnSpPr>
            <p:spPr>
              <a:xfrm>
                <a:off x="7082791" y="1688212"/>
                <a:ext cx="0" cy="56197"/>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13" name="Straight Connector 412">
                <a:extLst>
                  <a:ext uri="{FF2B5EF4-FFF2-40B4-BE49-F238E27FC236}">
                    <a16:creationId xmlns:a16="http://schemas.microsoft.com/office/drawing/2014/main" id="{72852DA9-3F01-4562-B7F6-F7C7E2B3D9BC}"/>
                  </a:ext>
                </a:extLst>
              </p:cNvPr>
              <p:cNvCxnSpPr/>
              <p:nvPr/>
            </p:nvCxnSpPr>
            <p:spPr>
              <a:xfrm>
                <a:off x="6740844" y="1551049"/>
                <a:ext cx="0" cy="56197"/>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14" name="Straight Connector 413">
                <a:extLst>
                  <a:ext uri="{FF2B5EF4-FFF2-40B4-BE49-F238E27FC236}">
                    <a16:creationId xmlns:a16="http://schemas.microsoft.com/office/drawing/2014/main" id="{B9467720-6E97-49D2-AE6B-A2D4D3E160B2}"/>
                  </a:ext>
                </a:extLst>
              </p:cNvPr>
              <p:cNvCxnSpPr/>
              <p:nvPr/>
            </p:nvCxnSpPr>
            <p:spPr>
              <a:xfrm>
                <a:off x="6726556" y="1523427"/>
                <a:ext cx="0" cy="56197"/>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15" name="Straight Connector 414">
                <a:extLst>
                  <a:ext uri="{FF2B5EF4-FFF2-40B4-BE49-F238E27FC236}">
                    <a16:creationId xmlns:a16="http://schemas.microsoft.com/office/drawing/2014/main" id="{73310D9F-62A7-483C-9041-507ED9C15098}"/>
                  </a:ext>
                </a:extLst>
              </p:cNvPr>
              <p:cNvCxnSpPr/>
              <p:nvPr/>
            </p:nvCxnSpPr>
            <p:spPr>
              <a:xfrm>
                <a:off x="6644641" y="1467230"/>
                <a:ext cx="0" cy="56197"/>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16" name="Straight Connector 415">
                <a:extLst>
                  <a:ext uri="{FF2B5EF4-FFF2-40B4-BE49-F238E27FC236}">
                    <a16:creationId xmlns:a16="http://schemas.microsoft.com/office/drawing/2014/main" id="{AE5A8AC7-5B50-4D57-A284-25EDEA824FFB}"/>
                  </a:ext>
                </a:extLst>
              </p:cNvPr>
              <p:cNvCxnSpPr/>
              <p:nvPr/>
            </p:nvCxnSpPr>
            <p:spPr>
              <a:xfrm>
                <a:off x="6631306" y="1467230"/>
                <a:ext cx="0" cy="56197"/>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17" name="Straight Connector 416">
                <a:extLst>
                  <a:ext uri="{FF2B5EF4-FFF2-40B4-BE49-F238E27FC236}">
                    <a16:creationId xmlns:a16="http://schemas.microsoft.com/office/drawing/2014/main" id="{EDE990CB-2CA4-4EBB-9D62-43CF6A45AFB5}"/>
                  </a:ext>
                </a:extLst>
              </p:cNvPr>
              <p:cNvCxnSpPr/>
              <p:nvPr/>
            </p:nvCxnSpPr>
            <p:spPr>
              <a:xfrm>
                <a:off x="6463666" y="1384423"/>
                <a:ext cx="0" cy="56197"/>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grpSp>
        <p:grpSp>
          <p:nvGrpSpPr>
            <p:cNvPr id="403" name="Group 402">
              <a:extLst>
                <a:ext uri="{FF2B5EF4-FFF2-40B4-BE49-F238E27FC236}">
                  <a16:creationId xmlns:a16="http://schemas.microsoft.com/office/drawing/2014/main" id="{D2B0CA0F-7005-49A5-B13A-3AE8F56C0C42}"/>
                </a:ext>
              </a:extLst>
            </p:cNvPr>
            <p:cNvGrpSpPr/>
            <p:nvPr/>
          </p:nvGrpSpPr>
          <p:grpSpPr>
            <a:xfrm>
              <a:off x="2304492" y="1904216"/>
              <a:ext cx="1079390" cy="427906"/>
              <a:chOff x="2304492" y="1904216"/>
              <a:chExt cx="1079390" cy="427906"/>
            </a:xfrm>
          </p:grpSpPr>
          <p:sp>
            <p:nvSpPr>
              <p:cNvPr id="404" name="Freeform: Shape 403">
                <a:extLst>
                  <a:ext uri="{FF2B5EF4-FFF2-40B4-BE49-F238E27FC236}">
                    <a16:creationId xmlns:a16="http://schemas.microsoft.com/office/drawing/2014/main" id="{FC2C0536-3FB0-429E-94A0-A32BA87B7735}"/>
                  </a:ext>
                </a:extLst>
              </p:cNvPr>
              <p:cNvSpPr/>
              <p:nvPr/>
            </p:nvSpPr>
            <p:spPr>
              <a:xfrm>
                <a:off x="3075007" y="1904216"/>
                <a:ext cx="308875" cy="427906"/>
              </a:xfrm>
              <a:custGeom>
                <a:avLst/>
                <a:gdLst>
                  <a:gd name="connsiteX0" fmla="*/ 0 w 944880"/>
                  <a:gd name="connsiteY0" fmla="*/ 0 h 668020"/>
                  <a:gd name="connsiteX1" fmla="*/ 944880 w 944880"/>
                  <a:gd name="connsiteY1" fmla="*/ 0 h 668020"/>
                  <a:gd name="connsiteX2" fmla="*/ 944880 w 944880"/>
                  <a:gd name="connsiteY2" fmla="*/ 668020 h 668020"/>
                </a:gdLst>
                <a:ahLst/>
                <a:cxnLst>
                  <a:cxn ang="0">
                    <a:pos x="connsiteX0" y="connsiteY0"/>
                  </a:cxn>
                  <a:cxn ang="0">
                    <a:pos x="connsiteX1" y="connsiteY1"/>
                  </a:cxn>
                  <a:cxn ang="0">
                    <a:pos x="connsiteX2" y="connsiteY2"/>
                  </a:cxn>
                </a:cxnLst>
                <a:rect l="l" t="t" r="r" b="b"/>
                <a:pathLst>
                  <a:path w="944880" h="668020">
                    <a:moveTo>
                      <a:pt x="0" y="0"/>
                    </a:moveTo>
                    <a:lnTo>
                      <a:pt x="944880" y="0"/>
                    </a:lnTo>
                    <a:lnTo>
                      <a:pt x="944880" y="668020"/>
                    </a:lnTo>
                  </a:path>
                </a:pathLst>
              </a:cu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5" name="Freeform: Shape 404">
                <a:extLst>
                  <a:ext uri="{FF2B5EF4-FFF2-40B4-BE49-F238E27FC236}">
                    <a16:creationId xmlns:a16="http://schemas.microsoft.com/office/drawing/2014/main" id="{DA4B62BB-BF7C-4279-93A8-0F68657BF0F5}"/>
                  </a:ext>
                </a:extLst>
              </p:cNvPr>
              <p:cNvSpPr/>
              <p:nvPr/>
            </p:nvSpPr>
            <p:spPr>
              <a:xfrm>
                <a:off x="2304492" y="1904216"/>
                <a:ext cx="756415" cy="427906"/>
              </a:xfrm>
              <a:custGeom>
                <a:avLst/>
                <a:gdLst>
                  <a:gd name="connsiteX0" fmla="*/ 0 w 944880"/>
                  <a:gd name="connsiteY0" fmla="*/ 0 h 668020"/>
                  <a:gd name="connsiteX1" fmla="*/ 944880 w 944880"/>
                  <a:gd name="connsiteY1" fmla="*/ 0 h 668020"/>
                  <a:gd name="connsiteX2" fmla="*/ 944880 w 944880"/>
                  <a:gd name="connsiteY2" fmla="*/ 668020 h 668020"/>
                </a:gdLst>
                <a:ahLst/>
                <a:cxnLst>
                  <a:cxn ang="0">
                    <a:pos x="connsiteX0" y="connsiteY0"/>
                  </a:cxn>
                  <a:cxn ang="0">
                    <a:pos x="connsiteX1" y="connsiteY1"/>
                  </a:cxn>
                  <a:cxn ang="0">
                    <a:pos x="connsiteX2" y="connsiteY2"/>
                  </a:cxn>
                </a:cxnLst>
                <a:rect l="l" t="t" r="r" b="b"/>
                <a:pathLst>
                  <a:path w="944880" h="668020">
                    <a:moveTo>
                      <a:pt x="0" y="0"/>
                    </a:moveTo>
                    <a:lnTo>
                      <a:pt x="944880" y="0"/>
                    </a:lnTo>
                    <a:lnTo>
                      <a:pt x="944880" y="668020"/>
                    </a:lnTo>
                  </a:path>
                </a:pathLst>
              </a:cu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53" name="Group 452">
            <a:extLst>
              <a:ext uri="{FF2B5EF4-FFF2-40B4-BE49-F238E27FC236}">
                <a16:creationId xmlns:a16="http://schemas.microsoft.com/office/drawing/2014/main" id="{B98167F2-EE1C-4447-8EB8-85A1E4B1A7E4}"/>
              </a:ext>
            </a:extLst>
          </p:cNvPr>
          <p:cNvGrpSpPr/>
          <p:nvPr/>
        </p:nvGrpSpPr>
        <p:grpSpPr>
          <a:xfrm>
            <a:off x="4966455" y="3614832"/>
            <a:ext cx="4069890" cy="1998615"/>
            <a:chOff x="812872" y="3467417"/>
            <a:chExt cx="4069890" cy="1998615"/>
          </a:xfrm>
        </p:grpSpPr>
        <p:graphicFrame>
          <p:nvGraphicFramePr>
            <p:cNvPr id="454" name="Chart 453">
              <a:extLst>
                <a:ext uri="{FF2B5EF4-FFF2-40B4-BE49-F238E27FC236}">
                  <a16:creationId xmlns:a16="http://schemas.microsoft.com/office/drawing/2014/main" id="{E05E0969-9B8D-4387-9E03-FF7D8E30A4E6}"/>
                </a:ext>
              </a:extLst>
            </p:cNvPr>
            <p:cNvGraphicFramePr/>
            <p:nvPr/>
          </p:nvGraphicFramePr>
          <p:xfrm>
            <a:off x="2089096" y="3467417"/>
            <a:ext cx="2762622" cy="135229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55" name="Chart 454">
              <a:extLst>
                <a:ext uri="{FF2B5EF4-FFF2-40B4-BE49-F238E27FC236}">
                  <a16:creationId xmlns:a16="http://schemas.microsoft.com/office/drawing/2014/main" id="{232DE2DF-9D75-410B-B448-E0EB80FE6D76}"/>
                </a:ext>
              </a:extLst>
            </p:cNvPr>
            <p:cNvGraphicFramePr/>
            <p:nvPr/>
          </p:nvGraphicFramePr>
          <p:xfrm>
            <a:off x="2222135" y="4962860"/>
            <a:ext cx="2660627" cy="503172"/>
          </p:xfrm>
          <a:graphic>
            <a:graphicData uri="http://schemas.openxmlformats.org/drawingml/2006/chart">
              <c:chart xmlns:c="http://schemas.openxmlformats.org/drawingml/2006/chart" xmlns:r="http://schemas.openxmlformats.org/officeDocument/2006/relationships" r:id="rId10"/>
            </a:graphicData>
          </a:graphic>
        </p:graphicFrame>
        <p:grpSp>
          <p:nvGrpSpPr>
            <p:cNvPr id="456" name="Group 455">
              <a:extLst>
                <a:ext uri="{FF2B5EF4-FFF2-40B4-BE49-F238E27FC236}">
                  <a16:creationId xmlns:a16="http://schemas.microsoft.com/office/drawing/2014/main" id="{EDEE6DD0-1A83-4879-AAEB-F8CD5AFC250C}"/>
                </a:ext>
              </a:extLst>
            </p:cNvPr>
            <p:cNvGrpSpPr/>
            <p:nvPr/>
          </p:nvGrpSpPr>
          <p:grpSpPr>
            <a:xfrm>
              <a:off x="2222134" y="4968069"/>
              <a:ext cx="2654532" cy="300082"/>
              <a:chOff x="2089094" y="2558924"/>
              <a:chExt cx="2654532" cy="300082"/>
            </a:xfrm>
          </p:grpSpPr>
          <p:sp>
            <p:nvSpPr>
              <p:cNvPr id="495" name="TextBox 494">
                <a:extLst>
                  <a:ext uri="{FF2B5EF4-FFF2-40B4-BE49-F238E27FC236}">
                    <a16:creationId xmlns:a16="http://schemas.microsoft.com/office/drawing/2014/main" id="{3C01328C-F570-4B86-8AA3-F3DB425751E2}"/>
                  </a:ext>
                </a:extLst>
              </p:cNvPr>
              <p:cNvSpPr txBox="1"/>
              <p:nvPr/>
            </p:nvSpPr>
            <p:spPr>
              <a:xfrm>
                <a:off x="2089094" y="2558924"/>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65</a:t>
                </a:r>
              </a:p>
            </p:txBody>
          </p:sp>
          <p:sp>
            <p:nvSpPr>
              <p:cNvPr id="496" name="TextBox 495">
                <a:extLst>
                  <a:ext uri="{FF2B5EF4-FFF2-40B4-BE49-F238E27FC236}">
                    <a16:creationId xmlns:a16="http://schemas.microsoft.com/office/drawing/2014/main" id="{30466DE9-C784-40EC-9DEA-B4750D591CC5}"/>
                  </a:ext>
                </a:extLst>
              </p:cNvPr>
              <p:cNvSpPr txBox="1"/>
              <p:nvPr/>
            </p:nvSpPr>
            <p:spPr>
              <a:xfrm>
                <a:off x="2089094" y="2658951"/>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38</a:t>
                </a:r>
              </a:p>
            </p:txBody>
          </p:sp>
          <p:sp>
            <p:nvSpPr>
              <p:cNvPr id="497" name="TextBox 496">
                <a:extLst>
                  <a:ext uri="{FF2B5EF4-FFF2-40B4-BE49-F238E27FC236}">
                    <a16:creationId xmlns:a16="http://schemas.microsoft.com/office/drawing/2014/main" id="{E0ADC881-4EB0-457B-8817-033CF7195807}"/>
                  </a:ext>
                </a:extLst>
              </p:cNvPr>
              <p:cNvSpPr txBox="1"/>
              <p:nvPr/>
            </p:nvSpPr>
            <p:spPr>
              <a:xfrm>
                <a:off x="2649926" y="2558924"/>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40</a:t>
                </a:r>
              </a:p>
            </p:txBody>
          </p:sp>
          <p:sp>
            <p:nvSpPr>
              <p:cNvPr id="498" name="TextBox 497">
                <a:extLst>
                  <a:ext uri="{FF2B5EF4-FFF2-40B4-BE49-F238E27FC236}">
                    <a16:creationId xmlns:a16="http://schemas.microsoft.com/office/drawing/2014/main" id="{AE7BCBCC-3C1C-4DE2-93EE-711538D7C2E6}"/>
                  </a:ext>
                </a:extLst>
              </p:cNvPr>
              <p:cNvSpPr txBox="1"/>
              <p:nvPr/>
            </p:nvSpPr>
            <p:spPr>
              <a:xfrm>
                <a:off x="2649926" y="2658951"/>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27</a:t>
                </a:r>
              </a:p>
            </p:txBody>
          </p:sp>
          <p:sp>
            <p:nvSpPr>
              <p:cNvPr id="499" name="TextBox 498">
                <a:extLst>
                  <a:ext uri="{FF2B5EF4-FFF2-40B4-BE49-F238E27FC236}">
                    <a16:creationId xmlns:a16="http://schemas.microsoft.com/office/drawing/2014/main" id="{0061476B-31EC-498A-B5FB-D09217638908}"/>
                  </a:ext>
                </a:extLst>
              </p:cNvPr>
              <p:cNvSpPr txBox="1"/>
              <p:nvPr/>
            </p:nvSpPr>
            <p:spPr>
              <a:xfrm>
                <a:off x="3247334" y="2558924"/>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11</a:t>
                </a:r>
              </a:p>
            </p:txBody>
          </p:sp>
          <p:sp>
            <p:nvSpPr>
              <p:cNvPr id="500" name="TextBox 499">
                <a:extLst>
                  <a:ext uri="{FF2B5EF4-FFF2-40B4-BE49-F238E27FC236}">
                    <a16:creationId xmlns:a16="http://schemas.microsoft.com/office/drawing/2014/main" id="{489322F0-602D-4932-AFB5-AC74BF6ED68D}"/>
                  </a:ext>
                </a:extLst>
              </p:cNvPr>
              <p:cNvSpPr txBox="1"/>
              <p:nvPr/>
            </p:nvSpPr>
            <p:spPr>
              <a:xfrm>
                <a:off x="3247334" y="2658951"/>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8</a:t>
                </a:r>
              </a:p>
            </p:txBody>
          </p:sp>
          <p:sp>
            <p:nvSpPr>
              <p:cNvPr id="501" name="TextBox 500">
                <a:extLst>
                  <a:ext uri="{FF2B5EF4-FFF2-40B4-BE49-F238E27FC236}">
                    <a16:creationId xmlns:a16="http://schemas.microsoft.com/office/drawing/2014/main" id="{4F76069E-973C-450F-9734-A1B371827E7D}"/>
                  </a:ext>
                </a:extLst>
              </p:cNvPr>
              <p:cNvSpPr txBox="1"/>
              <p:nvPr/>
            </p:nvSpPr>
            <p:spPr>
              <a:xfrm>
                <a:off x="3823268" y="2558924"/>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0</a:t>
                </a:r>
              </a:p>
            </p:txBody>
          </p:sp>
          <p:sp>
            <p:nvSpPr>
              <p:cNvPr id="502" name="TextBox 501">
                <a:extLst>
                  <a:ext uri="{FF2B5EF4-FFF2-40B4-BE49-F238E27FC236}">
                    <a16:creationId xmlns:a16="http://schemas.microsoft.com/office/drawing/2014/main" id="{AF392C70-124F-4141-B822-8730E8DD7EA0}"/>
                  </a:ext>
                </a:extLst>
              </p:cNvPr>
              <p:cNvSpPr txBox="1"/>
              <p:nvPr/>
            </p:nvSpPr>
            <p:spPr>
              <a:xfrm>
                <a:off x="3823268" y="2658951"/>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3</a:t>
                </a:r>
              </a:p>
            </p:txBody>
          </p:sp>
          <p:sp>
            <p:nvSpPr>
              <p:cNvPr id="503" name="TextBox 502">
                <a:extLst>
                  <a:ext uri="{FF2B5EF4-FFF2-40B4-BE49-F238E27FC236}">
                    <a16:creationId xmlns:a16="http://schemas.microsoft.com/office/drawing/2014/main" id="{0EC7D3F0-CD2C-4209-8E2B-F09CAD4F8C46}"/>
                  </a:ext>
                </a:extLst>
              </p:cNvPr>
              <p:cNvSpPr txBox="1"/>
              <p:nvPr/>
            </p:nvSpPr>
            <p:spPr>
              <a:xfrm>
                <a:off x="4393106" y="2558924"/>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0</a:t>
                </a:r>
              </a:p>
            </p:txBody>
          </p:sp>
          <p:sp>
            <p:nvSpPr>
              <p:cNvPr id="504" name="TextBox 503">
                <a:extLst>
                  <a:ext uri="{FF2B5EF4-FFF2-40B4-BE49-F238E27FC236}">
                    <a16:creationId xmlns:a16="http://schemas.microsoft.com/office/drawing/2014/main" id="{AFC3D52B-C3A9-4481-AA57-AEC52AA46A0D}"/>
                  </a:ext>
                </a:extLst>
              </p:cNvPr>
              <p:cNvSpPr txBox="1"/>
              <p:nvPr/>
            </p:nvSpPr>
            <p:spPr>
              <a:xfrm>
                <a:off x="4393106" y="2658951"/>
                <a:ext cx="35052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0</a:t>
                </a:r>
              </a:p>
            </p:txBody>
          </p:sp>
        </p:grpSp>
        <p:sp>
          <p:nvSpPr>
            <p:cNvPr id="457" name="TextBox 456">
              <a:extLst>
                <a:ext uri="{FF2B5EF4-FFF2-40B4-BE49-F238E27FC236}">
                  <a16:creationId xmlns:a16="http://schemas.microsoft.com/office/drawing/2014/main" id="{F2C2AFBE-70D2-44FC-9C2B-12C12030EA2F}"/>
                </a:ext>
              </a:extLst>
            </p:cNvPr>
            <p:cNvSpPr txBox="1"/>
            <p:nvPr/>
          </p:nvSpPr>
          <p:spPr>
            <a:xfrm>
              <a:off x="3087523" y="4754310"/>
              <a:ext cx="95908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Time (Months)</a:t>
              </a:r>
            </a:p>
          </p:txBody>
        </p:sp>
        <p:sp>
          <p:nvSpPr>
            <p:cNvPr id="458" name="TextBox 457">
              <a:extLst>
                <a:ext uri="{FF2B5EF4-FFF2-40B4-BE49-F238E27FC236}">
                  <a16:creationId xmlns:a16="http://schemas.microsoft.com/office/drawing/2014/main" id="{7CD802C8-D864-4443-AC87-21B046764BD9}"/>
                </a:ext>
              </a:extLst>
            </p:cNvPr>
            <p:cNvSpPr txBox="1"/>
            <p:nvPr/>
          </p:nvSpPr>
          <p:spPr>
            <a:xfrm rot="16200000">
              <a:off x="1787851" y="3989404"/>
              <a:ext cx="50907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OS</a:t>
              </a:r>
            </a:p>
          </p:txBody>
        </p:sp>
        <p:sp>
          <p:nvSpPr>
            <p:cNvPr id="459" name="TextBox 458">
              <a:extLst>
                <a:ext uri="{FF2B5EF4-FFF2-40B4-BE49-F238E27FC236}">
                  <a16:creationId xmlns:a16="http://schemas.microsoft.com/office/drawing/2014/main" id="{BBF495EC-080A-4BB4-B95D-1935C561194A}"/>
                </a:ext>
              </a:extLst>
            </p:cNvPr>
            <p:cNvSpPr txBox="1"/>
            <p:nvPr/>
          </p:nvSpPr>
          <p:spPr>
            <a:xfrm rot="16200000">
              <a:off x="673748" y="5078887"/>
              <a:ext cx="50907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OS</a:t>
              </a:r>
            </a:p>
          </p:txBody>
        </p:sp>
        <p:grpSp>
          <p:nvGrpSpPr>
            <p:cNvPr id="460" name="Group 459">
              <a:extLst>
                <a:ext uri="{FF2B5EF4-FFF2-40B4-BE49-F238E27FC236}">
                  <a16:creationId xmlns:a16="http://schemas.microsoft.com/office/drawing/2014/main" id="{DC54EA58-83E5-45FD-A5A3-B951A2415B4C}"/>
                </a:ext>
              </a:extLst>
            </p:cNvPr>
            <p:cNvGrpSpPr/>
            <p:nvPr/>
          </p:nvGrpSpPr>
          <p:grpSpPr>
            <a:xfrm>
              <a:off x="3998530" y="3665298"/>
              <a:ext cx="238760" cy="141658"/>
              <a:chOff x="6372860" y="4911027"/>
              <a:chExt cx="238760" cy="141658"/>
            </a:xfrm>
          </p:grpSpPr>
          <p:cxnSp>
            <p:nvCxnSpPr>
              <p:cNvPr id="491" name="Straight Connector 490">
                <a:extLst>
                  <a:ext uri="{FF2B5EF4-FFF2-40B4-BE49-F238E27FC236}">
                    <a16:creationId xmlns:a16="http://schemas.microsoft.com/office/drawing/2014/main" id="{DA38210E-2556-4B97-BC89-299FAF46BA73}"/>
                  </a:ext>
                </a:extLst>
              </p:cNvPr>
              <p:cNvCxnSpPr/>
              <p:nvPr/>
            </p:nvCxnSpPr>
            <p:spPr>
              <a:xfrm>
                <a:off x="6372860" y="4937389"/>
                <a:ext cx="238760" cy="0"/>
              </a:xfrm>
              <a:prstGeom prst="line">
                <a:avLst/>
              </a:prstGeom>
              <a:ln w="12700">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92" name="Straight Connector 491">
                <a:extLst>
                  <a:ext uri="{FF2B5EF4-FFF2-40B4-BE49-F238E27FC236}">
                    <a16:creationId xmlns:a16="http://schemas.microsoft.com/office/drawing/2014/main" id="{F9701A37-1057-477E-83DD-7EF1EF00018E}"/>
                  </a:ext>
                </a:extLst>
              </p:cNvPr>
              <p:cNvCxnSpPr/>
              <p:nvPr/>
            </p:nvCxnSpPr>
            <p:spPr>
              <a:xfrm>
                <a:off x="6372860" y="5026323"/>
                <a:ext cx="238760" cy="0"/>
              </a:xfrm>
              <a:prstGeom prst="line">
                <a:avLst/>
              </a:prstGeom>
              <a:ln w="12700">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93" name="Straight Connector 492">
                <a:extLst>
                  <a:ext uri="{FF2B5EF4-FFF2-40B4-BE49-F238E27FC236}">
                    <a16:creationId xmlns:a16="http://schemas.microsoft.com/office/drawing/2014/main" id="{7436FCAC-F045-4719-B5B6-987C5B71E9E1}"/>
                  </a:ext>
                </a:extLst>
              </p:cNvPr>
              <p:cNvCxnSpPr>
                <a:cxnSpLocks/>
              </p:cNvCxnSpPr>
              <p:nvPr/>
            </p:nvCxnSpPr>
            <p:spPr>
              <a:xfrm>
                <a:off x="6492240" y="4911027"/>
                <a:ext cx="0" cy="52724"/>
              </a:xfrm>
              <a:prstGeom prst="line">
                <a:avLst/>
              </a:prstGeom>
              <a:ln w="12700">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94" name="Straight Connector 493">
                <a:extLst>
                  <a:ext uri="{FF2B5EF4-FFF2-40B4-BE49-F238E27FC236}">
                    <a16:creationId xmlns:a16="http://schemas.microsoft.com/office/drawing/2014/main" id="{D0023757-E332-41FD-AA88-2366C13B34FE}"/>
                  </a:ext>
                </a:extLst>
              </p:cNvPr>
              <p:cNvCxnSpPr>
                <a:cxnSpLocks/>
              </p:cNvCxnSpPr>
              <p:nvPr/>
            </p:nvCxnSpPr>
            <p:spPr>
              <a:xfrm>
                <a:off x="6492240" y="4999961"/>
                <a:ext cx="0" cy="52724"/>
              </a:xfrm>
              <a:prstGeom prst="line">
                <a:avLst/>
              </a:prstGeom>
              <a:ln w="12700">
                <a:solidFill>
                  <a:srgbClr val="203661"/>
                </a:solidFill>
              </a:ln>
            </p:spPr>
            <p:style>
              <a:lnRef idx="1">
                <a:schemeClr val="accent1"/>
              </a:lnRef>
              <a:fillRef idx="0">
                <a:schemeClr val="accent1"/>
              </a:fillRef>
              <a:effectRef idx="0">
                <a:schemeClr val="accent1"/>
              </a:effectRef>
              <a:fontRef idx="minor">
                <a:schemeClr val="tx1"/>
              </a:fontRef>
            </p:style>
          </p:cxnSp>
        </p:grpSp>
        <p:sp>
          <p:nvSpPr>
            <p:cNvPr id="461" name="TextBox 460">
              <a:extLst>
                <a:ext uri="{FF2B5EF4-FFF2-40B4-BE49-F238E27FC236}">
                  <a16:creationId xmlns:a16="http://schemas.microsoft.com/office/drawing/2014/main" id="{65C30AF6-C70A-43B3-AA1C-CA2C91F46079}"/>
                </a:ext>
              </a:extLst>
            </p:cNvPr>
            <p:cNvSpPr txBox="1"/>
            <p:nvPr/>
          </p:nvSpPr>
          <p:spPr>
            <a:xfrm>
              <a:off x="2439616" y="4331482"/>
              <a:ext cx="588074"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4565B"/>
                  </a:solidFill>
                  <a:effectLst/>
                  <a:uLnTx/>
                  <a:uFillTx/>
                  <a:latin typeface="Arial" panose="020B0604020202020204"/>
                  <a:ea typeface="+mn-ea"/>
                  <a:cs typeface="+mn-cs"/>
                </a:rPr>
                <a:t>p=0.11</a:t>
              </a:r>
            </a:p>
          </p:txBody>
        </p:sp>
        <p:grpSp>
          <p:nvGrpSpPr>
            <p:cNvPr id="462" name="Group 461">
              <a:extLst>
                <a:ext uri="{FF2B5EF4-FFF2-40B4-BE49-F238E27FC236}">
                  <a16:creationId xmlns:a16="http://schemas.microsoft.com/office/drawing/2014/main" id="{AEBBB8F2-1E5F-47A8-85AA-DE0F7AADA0A0}"/>
                </a:ext>
              </a:extLst>
            </p:cNvPr>
            <p:cNvGrpSpPr/>
            <p:nvPr/>
          </p:nvGrpSpPr>
          <p:grpSpPr>
            <a:xfrm>
              <a:off x="2429940" y="3617510"/>
              <a:ext cx="2150745" cy="986790"/>
              <a:chOff x="6827520" y="3517583"/>
              <a:chExt cx="2150745" cy="986790"/>
            </a:xfrm>
          </p:grpSpPr>
          <p:sp>
            <p:nvSpPr>
              <p:cNvPr id="483" name="Freeform: Shape 482">
                <a:extLst>
                  <a:ext uri="{FF2B5EF4-FFF2-40B4-BE49-F238E27FC236}">
                    <a16:creationId xmlns:a16="http://schemas.microsoft.com/office/drawing/2014/main" id="{0EB0BBDB-D9E1-4BA3-9AA5-5EB4BA0EA63B}"/>
                  </a:ext>
                </a:extLst>
              </p:cNvPr>
              <p:cNvSpPr/>
              <p:nvPr/>
            </p:nvSpPr>
            <p:spPr>
              <a:xfrm>
                <a:off x="6827520" y="3517583"/>
                <a:ext cx="2150745" cy="986790"/>
              </a:xfrm>
              <a:custGeom>
                <a:avLst/>
                <a:gdLst>
                  <a:gd name="connsiteX0" fmla="*/ 0 w 2150745"/>
                  <a:gd name="connsiteY0" fmla="*/ 0 h 986790"/>
                  <a:gd name="connsiteX1" fmla="*/ 168593 w 2150745"/>
                  <a:gd name="connsiteY1" fmla="*/ 0 h 986790"/>
                  <a:gd name="connsiteX2" fmla="*/ 168593 w 2150745"/>
                  <a:gd name="connsiteY2" fmla="*/ 28575 h 986790"/>
                  <a:gd name="connsiteX3" fmla="*/ 207645 w 2150745"/>
                  <a:gd name="connsiteY3" fmla="*/ 28575 h 986790"/>
                  <a:gd name="connsiteX4" fmla="*/ 207645 w 2150745"/>
                  <a:gd name="connsiteY4" fmla="*/ 65722 h 986790"/>
                  <a:gd name="connsiteX5" fmla="*/ 223838 w 2150745"/>
                  <a:gd name="connsiteY5" fmla="*/ 65722 h 986790"/>
                  <a:gd name="connsiteX6" fmla="*/ 223838 w 2150745"/>
                  <a:gd name="connsiteY6" fmla="*/ 86677 h 986790"/>
                  <a:gd name="connsiteX7" fmla="*/ 263843 w 2150745"/>
                  <a:gd name="connsiteY7" fmla="*/ 86677 h 986790"/>
                  <a:gd name="connsiteX8" fmla="*/ 263843 w 2150745"/>
                  <a:gd name="connsiteY8" fmla="*/ 104775 h 986790"/>
                  <a:gd name="connsiteX9" fmla="*/ 300038 w 2150745"/>
                  <a:gd name="connsiteY9" fmla="*/ 104775 h 986790"/>
                  <a:gd name="connsiteX10" fmla="*/ 300038 w 2150745"/>
                  <a:gd name="connsiteY10" fmla="*/ 141922 h 986790"/>
                  <a:gd name="connsiteX11" fmla="*/ 327660 w 2150745"/>
                  <a:gd name="connsiteY11" fmla="*/ 141922 h 986790"/>
                  <a:gd name="connsiteX12" fmla="*/ 327660 w 2150745"/>
                  <a:gd name="connsiteY12" fmla="*/ 163830 h 986790"/>
                  <a:gd name="connsiteX13" fmla="*/ 412433 w 2150745"/>
                  <a:gd name="connsiteY13" fmla="*/ 163830 h 986790"/>
                  <a:gd name="connsiteX14" fmla="*/ 412433 w 2150745"/>
                  <a:gd name="connsiteY14" fmla="*/ 191452 h 986790"/>
                  <a:gd name="connsiteX15" fmla="*/ 441008 w 2150745"/>
                  <a:gd name="connsiteY15" fmla="*/ 191452 h 986790"/>
                  <a:gd name="connsiteX16" fmla="*/ 441008 w 2150745"/>
                  <a:gd name="connsiteY16" fmla="*/ 219075 h 986790"/>
                  <a:gd name="connsiteX17" fmla="*/ 509588 w 2150745"/>
                  <a:gd name="connsiteY17" fmla="*/ 219075 h 986790"/>
                  <a:gd name="connsiteX18" fmla="*/ 509588 w 2150745"/>
                  <a:gd name="connsiteY18" fmla="*/ 245745 h 986790"/>
                  <a:gd name="connsiteX19" fmla="*/ 685800 w 2150745"/>
                  <a:gd name="connsiteY19" fmla="*/ 245745 h 986790"/>
                  <a:gd name="connsiteX20" fmla="*/ 685800 w 2150745"/>
                  <a:gd name="connsiteY20" fmla="*/ 267652 h 986790"/>
                  <a:gd name="connsiteX21" fmla="*/ 685800 w 2150745"/>
                  <a:gd name="connsiteY21" fmla="*/ 279082 h 986790"/>
                  <a:gd name="connsiteX22" fmla="*/ 696278 w 2150745"/>
                  <a:gd name="connsiteY22" fmla="*/ 279082 h 986790"/>
                  <a:gd name="connsiteX23" fmla="*/ 696278 w 2150745"/>
                  <a:gd name="connsiteY23" fmla="*/ 310515 h 986790"/>
                  <a:gd name="connsiteX24" fmla="*/ 702945 w 2150745"/>
                  <a:gd name="connsiteY24" fmla="*/ 317182 h 986790"/>
                  <a:gd name="connsiteX25" fmla="*/ 721043 w 2150745"/>
                  <a:gd name="connsiteY25" fmla="*/ 335280 h 986790"/>
                  <a:gd name="connsiteX26" fmla="*/ 721043 w 2150745"/>
                  <a:gd name="connsiteY26" fmla="*/ 366712 h 986790"/>
                  <a:gd name="connsiteX27" fmla="*/ 740093 w 2150745"/>
                  <a:gd name="connsiteY27" fmla="*/ 366712 h 986790"/>
                  <a:gd name="connsiteX28" fmla="*/ 740093 w 2150745"/>
                  <a:gd name="connsiteY28" fmla="*/ 442912 h 986790"/>
                  <a:gd name="connsiteX29" fmla="*/ 791528 w 2150745"/>
                  <a:gd name="connsiteY29" fmla="*/ 442912 h 986790"/>
                  <a:gd name="connsiteX30" fmla="*/ 791528 w 2150745"/>
                  <a:gd name="connsiteY30" fmla="*/ 461962 h 986790"/>
                  <a:gd name="connsiteX31" fmla="*/ 813435 w 2150745"/>
                  <a:gd name="connsiteY31" fmla="*/ 461962 h 986790"/>
                  <a:gd name="connsiteX32" fmla="*/ 813435 w 2150745"/>
                  <a:gd name="connsiteY32" fmla="*/ 527685 h 986790"/>
                  <a:gd name="connsiteX33" fmla="*/ 836295 w 2150745"/>
                  <a:gd name="connsiteY33" fmla="*/ 527685 h 986790"/>
                  <a:gd name="connsiteX34" fmla="*/ 836295 w 2150745"/>
                  <a:gd name="connsiteY34" fmla="*/ 549592 h 986790"/>
                  <a:gd name="connsiteX35" fmla="*/ 869633 w 2150745"/>
                  <a:gd name="connsiteY35" fmla="*/ 549592 h 986790"/>
                  <a:gd name="connsiteX36" fmla="*/ 869633 w 2150745"/>
                  <a:gd name="connsiteY36" fmla="*/ 579120 h 986790"/>
                  <a:gd name="connsiteX37" fmla="*/ 956310 w 2150745"/>
                  <a:gd name="connsiteY37" fmla="*/ 579120 h 986790"/>
                  <a:gd name="connsiteX38" fmla="*/ 957263 w 2150745"/>
                  <a:gd name="connsiteY38" fmla="*/ 588645 h 986790"/>
                  <a:gd name="connsiteX39" fmla="*/ 957263 w 2150745"/>
                  <a:gd name="connsiteY39" fmla="*/ 642937 h 986790"/>
                  <a:gd name="connsiteX40" fmla="*/ 1022033 w 2150745"/>
                  <a:gd name="connsiteY40" fmla="*/ 642937 h 986790"/>
                  <a:gd name="connsiteX41" fmla="*/ 1022033 w 2150745"/>
                  <a:gd name="connsiteY41" fmla="*/ 668655 h 986790"/>
                  <a:gd name="connsiteX42" fmla="*/ 1063943 w 2150745"/>
                  <a:gd name="connsiteY42" fmla="*/ 668655 h 986790"/>
                  <a:gd name="connsiteX43" fmla="*/ 1063943 w 2150745"/>
                  <a:gd name="connsiteY43" fmla="*/ 707707 h 986790"/>
                  <a:gd name="connsiteX44" fmla="*/ 1764983 w 2150745"/>
                  <a:gd name="connsiteY44" fmla="*/ 707707 h 986790"/>
                  <a:gd name="connsiteX45" fmla="*/ 1764983 w 2150745"/>
                  <a:gd name="connsiteY45" fmla="*/ 720090 h 986790"/>
                  <a:gd name="connsiteX46" fmla="*/ 1764983 w 2150745"/>
                  <a:gd name="connsiteY46" fmla="*/ 856297 h 986790"/>
                  <a:gd name="connsiteX47" fmla="*/ 2150745 w 2150745"/>
                  <a:gd name="connsiteY47" fmla="*/ 856297 h 986790"/>
                  <a:gd name="connsiteX48" fmla="*/ 2150745 w 2150745"/>
                  <a:gd name="connsiteY48" fmla="*/ 986790 h 986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150745" h="986790">
                    <a:moveTo>
                      <a:pt x="0" y="0"/>
                    </a:moveTo>
                    <a:lnTo>
                      <a:pt x="168593" y="0"/>
                    </a:lnTo>
                    <a:lnTo>
                      <a:pt x="168593" y="28575"/>
                    </a:lnTo>
                    <a:lnTo>
                      <a:pt x="207645" y="28575"/>
                    </a:lnTo>
                    <a:lnTo>
                      <a:pt x="207645" y="65722"/>
                    </a:lnTo>
                    <a:lnTo>
                      <a:pt x="223838" y="65722"/>
                    </a:lnTo>
                    <a:lnTo>
                      <a:pt x="223838" y="86677"/>
                    </a:lnTo>
                    <a:lnTo>
                      <a:pt x="263843" y="86677"/>
                    </a:lnTo>
                    <a:lnTo>
                      <a:pt x="263843" y="104775"/>
                    </a:lnTo>
                    <a:lnTo>
                      <a:pt x="300038" y="104775"/>
                    </a:lnTo>
                    <a:lnTo>
                      <a:pt x="300038" y="141922"/>
                    </a:lnTo>
                    <a:lnTo>
                      <a:pt x="327660" y="141922"/>
                    </a:lnTo>
                    <a:lnTo>
                      <a:pt x="327660" y="163830"/>
                    </a:lnTo>
                    <a:lnTo>
                      <a:pt x="412433" y="163830"/>
                    </a:lnTo>
                    <a:lnTo>
                      <a:pt x="412433" y="191452"/>
                    </a:lnTo>
                    <a:lnTo>
                      <a:pt x="441008" y="191452"/>
                    </a:lnTo>
                    <a:lnTo>
                      <a:pt x="441008" y="219075"/>
                    </a:lnTo>
                    <a:lnTo>
                      <a:pt x="509588" y="219075"/>
                    </a:lnTo>
                    <a:lnTo>
                      <a:pt x="509588" y="245745"/>
                    </a:lnTo>
                    <a:lnTo>
                      <a:pt x="685800" y="245745"/>
                    </a:lnTo>
                    <a:cubicBezTo>
                      <a:pt x="686893" y="263226"/>
                      <a:pt x="687473" y="255946"/>
                      <a:pt x="685800" y="267652"/>
                    </a:cubicBezTo>
                    <a:lnTo>
                      <a:pt x="685800" y="279082"/>
                    </a:lnTo>
                    <a:lnTo>
                      <a:pt x="696278" y="279082"/>
                    </a:lnTo>
                    <a:lnTo>
                      <a:pt x="696278" y="310515"/>
                    </a:lnTo>
                    <a:lnTo>
                      <a:pt x="702945" y="317182"/>
                    </a:lnTo>
                    <a:lnTo>
                      <a:pt x="721043" y="335280"/>
                    </a:lnTo>
                    <a:lnTo>
                      <a:pt x="721043" y="366712"/>
                    </a:lnTo>
                    <a:lnTo>
                      <a:pt x="740093" y="366712"/>
                    </a:lnTo>
                    <a:lnTo>
                      <a:pt x="740093" y="442912"/>
                    </a:lnTo>
                    <a:lnTo>
                      <a:pt x="791528" y="442912"/>
                    </a:lnTo>
                    <a:lnTo>
                      <a:pt x="791528" y="461962"/>
                    </a:lnTo>
                    <a:lnTo>
                      <a:pt x="813435" y="461962"/>
                    </a:lnTo>
                    <a:lnTo>
                      <a:pt x="813435" y="527685"/>
                    </a:lnTo>
                    <a:lnTo>
                      <a:pt x="836295" y="527685"/>
                    </a:lnTo>
                    <a:lnTo>
                      <a:pt x="836295" y="549592"/>
                    </a:lnTo>
                    <a:lnTo>
                      <a:pt x="869633" y="549592"/>
                    </a:lnTo>
                    <a:lnTo>
                      <a:pt x="869633" y="579120"/>
                    </a:lnTo>
                    <a:lnTo>
                      <a:pt x="956310" y="579120"/>
                    </a:lnTo>
                    <a:cubicBezTo>
                      <a:pt x="956628" y="582295"/>
                      <a:pt x="956945" y="585470"/>
                      <a:pt x="957263" y="588645"/>
                    </a:cubicBezTo>
                    <a:lnTo>
                      <a:pt x="957263" y="642937"/>
                    </a:lnTo>
                    <a:lnTo>
                      <a:pt x="1022033" y="642937"/>
                    </a:lnTo>
                    <a:lnTo>
                      <a:pt x="1022033" y="668655"/>
                    </a:lnTo>
                    <a:lnTo>
                      <a:pt x="1063943" y="668655"/>
                    </a:lnTo>
                    <a:lnTo>
                      <a:pt x="1063943" y="707707"/>
                    </a:lnTo>
                    <a:lnTo>
                      <a:pt x="1764983" y="707707"/>
                    </a:lnTo>
                    <a:lnTo>
                      <a:pt x="1764983" y="720090"/>
                    </a:lnTo>
                    <a:lnTo>
                      <a:pt x="1764983" y="856297"/>
                    </a:lnTo>
                    <a:lnTo>
                      <a:pt x="2150745" y="856297"/>
                    </a:lnTo>
                    <a:lnTo>
                      <a:pt x="2150745" y="986790"/>
                    </a:lnTo>
                  </a:path>
                </a:pathLst>
              </a:custGeom>
              <a:noFill/>
              <a:ln w="9525">
                <a:solidFill>
                  <a:srgbClr val="2036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484" name="Straight Connector 483">
                <a:extLst>
                  <a:ext uri="{FF2B5EF4-FFF2-40B4-BE49-F238E27FC236}">
                    <a16:creationId xmlns:a16="http://schemas.microsoft.com/office/drawing/2014/main" id="{6228B4B3-8853-4BDC-8172-CBDA8D951931}"/>
                  </a:ext>
                </a:extLst>
              </p:cNvPr>
              <p:cNvCxnSpPr>
                <a:cxnSpLocks/>
              </p:cNvCxnSpPr>
              <p:nvPr/>
            </p:nvCxnSpPr>
            <p:spPr>
              <a:xfrm>
                <a:off x="8528686" y="4203504"/>
                <a:ext cx="0" cy="48456"/>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85" name="Straight Connector 484">
                <a:extLst>
                  <a:ext uri="{FF2B5EF4-FFF2-40B4-BE49-F238E27FC236}">
                    <a16:creationId xmlns:a16="http://schemas.microsoft.com/office/drawing/2014/main" id="{17C75290-6E8F-48C7-983E-CD97141685CA}"/>
                  </a:ext>
                </a:extLst>
              </p:cNvPr>
              <p:cNvCxnSpPr>
                <a:cxnSpLocks/>
              </p:cNvCxnSpPr>
              <p:nvPr/>
            </p:nvCxnSpPr>
            <p:spPr>
              <a:xfrm>
                <a:off x="8373429" y="4203504"/>
                <a:ext cx="0" cy="48456"/>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86" name="Straight Connector 485">
                <a:extLst>
                  <a:ext uri="{FF2B5EF4-FFF2-40B4-BE49-F238E27FC236}">
                    <a16:creationId xmlns:a16="http://schemas.microsoft.com/office/drawing/2014/main" id="{0C43AF3F-140C-4AB5-A028-6A349833CCEF}"/>
                  </a:ext>
                </a:extLst>
              </p:cNvPr>
              <p:cNvCxnSpPr>
                <a:cxnSpLocks/>
              </p:cNvCxnSpPr>
              <p:nvPr/>
            </p:nvCxnSpPr>
            <p:spPr>
              <a:xfrm>
                <a:off x="8253414" y="4203504"/>
                <a:ext cx="0" cy="48456"/>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87" name="Straight Connector 486">
                <a:extLst>
                  <a:ext uri="{FF2B5EF4-FFF2-40B4-BE49-F238E27FC236}">
                    <a16:creationId xmlns:a16="http://schemas.microsoft.com/office/drawing/2014/main" id="{D892A8C7-4273-4700-8460-F1DA57B14E1C}"/>
                  </a:ext>
                </a:extLst>
              </p:cNvPr>
              <p:cNvCxnSpPr>
                <a:cxnSpLocks/>
              </p:cNvCxnSpPr>
              <p:nvPr/>
            </p:nvCxnSpPr>
            <p:spPr>
              <a:xfrm>
                <a:off x="8224839" y="4203504"/>
                <a:ext cx="0" cy="48456"/>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88" name="Straight Connector 487">
                <a:extLst>
                  <a:ext uri="{FF2B5EF4-FFF2-40B4-BE49-F238E27FC236}">
                    <a16:creationId xmlns:a16="http://schemas.microsoft.com/office/drawing/2014/main" id="{0B56EEA7-CBFE-409C-AFE4-34D7B1FBF081}"/>
                  </a:ext>
                </a:extLst>
              </p:cNvPr>
              <p:cNvCxnSpPr>
                <a:cxnSpLocks/>
              </p:cNvCxnSpPr>
              <p:nvPr/>
            </p:nvCxnSpPr>
            <p:spPr>
              <a:xfrm>
                <a:off x="7980046" y="4204041"/>
                <a:ext cx="0" cy="48456"/>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a:extLst>
                  <a:ext uri="{FF2B5EF4-FFF2-40B4-BE49-F238E27FC236}">
                    <a16:creationId xmlns:a16="http://schemas.microsoft.com/office/drawing/2014/main" id="{CACF0E3F-E413-4F24-A5A2-3E391272EBD9}"/>
                  </a:ext>
                </a:extLst>
              </p:cNvPr>
              <p:cNvCxnSpPr>
                <a:cxnSpLocks/>
              </p:cNvCxnSpPr>
              <p:nvPr/>
            </p:nvCxnSpPr>
            <p:spPr>
              <a:xfrm flipH="1">
                <a:off x="7824788" y="4183381"/>
                <a:ext cx="46673" cy="0"/>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cxnSp>
            <p:nvCxnSpPr>
              <p:cNvPr id="490" name="Straight Connector 489">
                <a:extLst>
                  <a:ext uri="{FF2B5EF4-FFF2-40B4-BE49-F238E27FC236}">
                    <a16:creationId xmlns:a16="http://schemas.microsoft.com/office/drawing/2014/main" id="{31E49A88-0BA5-465E-8E09-D2B6E2773B89}"/>
                  </a:ext>
                </a:extLst>
              </p:cNvPr>
              <p:cNvCxnSpPr>
                <a:cxnSpLocks/>
              </p:cNvCxnSpPr>
              <p:nvPr/>
            </p:nvCxnSpPr>
            <p:spPr>
              <a:xfrm flipH="1">
                <a:off x="7760970" y="4119563"/>
                <a:ext cx="46673" cy="0"/>
              </a:xfrm>
              <a:prstGeom prst="line">
                <a:avLst/>
              </a:prstGeom>
              <a:ln>
                <a:solidFill>
                  <a:srgbClr val="203661"/>
                </a:solidFill>
              </a:ln>
            </p:spPr>
            <p:style>
              <a:lnRef idx="1">
                <a:schemeClr val="accent1"/>
              </a:lnRef>
              <a:fillRef idx="0">
                <a:schemeClr val="accent1"/>
              </a:fillRef>
              <a:effectRef idx="0">
                <a:schemeClr val="accent1"/>
              </a:effectRef>
              <a:fontRef idx="minor">
                <a:schemeClr val="tx1"/>
              </a:fontRef>
            </p:style>
          </p:cxnSp>
        </p:grpSp>
        <p:grpSp>
          <p:nvGrpSpPr>
            <p:cNvPr id="463" name="Group 462">
              <a:extLst>
                <a:ext uri="{FF2B5EF4-FFF2-40B4-BE49-F238E27FC236}">
                  <a16:creationId xmlns:a16="http://schemas.microsoft.com/office/drawing/2014/main" id="{964A90FF-E2B1-42B3-B9C7-4B6CB7C801A8}"/>
                </a:ext>
              </a:extLst>
            </p:cNvPr>
            <p:cNvGrpSpPr/>
            <p:nvPr/>
          </p:nvGrpSpPr>
          <p:grpSpPr>
            <a:xfrm>
              <a:off x="2409807" y="3612139"/>
              <a:ext cx="1522730" cy="615178"/>
              <a:chOff x="6849110" y="3516630"/>
              <a:chExt cx="1522730" cy="615178"/>
            </a:xfrm>
          </p:grpSpPr>
          <p:sp>
            <p:nvSpPr>
              <p:cNvPr id="467" name="Freeform: Shape 466">
                <a:extLst>
                  <a:ext uri="{FF2B5EF4-FFF2-40B4-BE49-F238E27FC236}">
                    <a16:creationId xmlns:a16="http://schemas.microsoft.com/office/drawing/2014/main" id="{F0AA79F2-A564-46F8-88B6-6044F2BACC58}"/>
                  </a:ext>
                </a:extLst>
              </p:cNvPr>
              <p:cNvSpPr/>
              <p:nvPr/>
            </p:nvSpPr>
            <p:spPr>
              <a:xfrm>
                <a:off x="6849110" y="3516630"/>
                <a:ext cx="1522730" cy="594360"/>
              </a:xfrm>
              <a:custGeom>
                <a:avLst/>
                <a:gdLst>
                  <a:gd name="connsiteX0" fmla="*/ 1522730 w 1522730"/>
                  <a:gd name="connsiteY0" fmla="*/ 594360 h 594360"/>
                  <a:gd name="connsiteX1" fmla="*/ 1310640 w 1522730"/>
                  <a:gd name="connsiteY1" fmla="*/ 594360 h 594360"/>
                  <a:gd name="connsiteX2" fmla="*/ 1310640 w 1522730"/>
                  <a:gd name="connsiteY2" fmla="*/ 529590 h 594360"/>
                  <a:gd name="connsiteX3" fmla="*/ 1164590 w 1522730"/>
                  <a:gd name="connsiteY3" fmla="*/ 529590 h 594360"/>
                  <a:gd name="connsiteX4" fmla="*/ 1164590 w 1522730"/>
                  <a:gd name="connsiteY4" fmla="*/ 485140 h 594360"/>
                  <a:gd name="connsiteX5" fmla="*/ 1068070 w 1522730"/>
                  <a:gd name="connsiteY5" fmla="*/ 485140 h 594360"/>
                  <a:gd name="connsiteX6" fmla="*/ 1062990 w 1522730"/>
                  <a:gd name="connsiteY6" fmla="*/ 474980 h 594360"/>
                  <a:gd name="connsiteX7" fmla="*/ 1062990 w 1522730"/>
                  <a:gd name="connsiteY7" fmla="*/ 435610 h 594360"/>
                  <a:gd name="connsiteX8" fmla="*/ 1041400 w 1522730"/>
                  <a:gd name="connsiteY8" fmla="*/ 435610 h 594360"/>
                  <a:gd name="connsiteX9" fmla="*/ 1041400 w 1522730"/>
                  <a:gd name="connsiteY9" fmla="*/ 398780 h 594360"/>
                  <a:gd name="connsiteX10" fmla="*/ 1026160 w 1522730"/>
                  <a:gd name="connsiteY10" fmla="*/ 398780 h 594360"/>
                  <a:gd name="connsiteX11" fmla="*/ 1026160 w 1522730"/>
                  <a:gd name="connsiteY11" fmla="*/ 365760 h 594360"/>
                  <a:gd name="connsiteX12" fmla="*/ 815340 w 1522730"/>
                  <a:gd name="connsiteY12" fmla="*/ 365760 h 594360"/>
                  <a:gd name="connsiteX13" fmla="*/ 815340 w 1522730"/>
                  <a:gd name="connsiteY13" fmla="*/ 340360 h 594360"/>
                  <a:gd name="connsiteX14" fmla="*/ 721360 w 1522730"/>
                  <a:gd name="connsiteY14" fmla="*/ 340360 h 594360"/>
                  <a:gd name="connsiteX15" fmla="*/ 721360 w 1522730"/>
                  <a:gd name="connsiteY15" fmla="*/ 317500 h 594360"/>
                  <a:gd name="connsiteX16" fmla="*/ 721360 w 1522730"/>
                  <a:gd name="connsiteY16" fmla="*/ 317500 h 594360"/>
                  <a:gd name="connsiteX17" fmla="*/ 721360 w 1522730"/>
                  <a:gd name="connsiteY17" fmla="*/ 295910 h 594360"/>
                  <a:gd name="connsiteX18" fmla="*/ 668020 w 1522730"/>
                  <a:gd name="connsiteY18" fmla="*/ 295910 h 594360"/>
                  <a:gd name="connsiteX19" fmla="*/ 668020 w 1522730"/>
                  <a:gd name="connsiteY19" fmla="*/ 264160 h 594360"/>
                  <a:gd name="connsiteX20" fmla="*/ 631190 w 1522730"/>
                  <a:gd name="connsiteY20" fmla="*/ 264160 h 594360"/>
                  <a:gd name="connsiteX21" fmla="*/ 631190 w 1522730"/>
                  <a:gd name="connsiteY21" fmla="*/ 251460 h 594360"/>
                  <a:gd name="connsiteX22" fmla="*/ 575310 w 1522730"/>
                  <a:gd name="connsiteY22" fmla="*/ 251460 h 594360"/>
                  <a:gd name="connsiteX23" fmla="*/ 575310 w 1522730"/>
                  <a:gd name="connsiteY23" fmla="*/ 219710 h 594360"/>
                  <a:gd name="connsiteX24" fmla="*/ 453390 w 1522730"/>
                  <a:gd name="connsiteY24" fmla="*/ 219710 h 594360"/>
                  <a:gd name="connsiteX25" fmla="*/ 453390 w 1522730"/>
                  <a:gd name="connsiteY25" fmla="*/ 198120 h 594360"/>
                  <a:gd name="connsiteX26" fmla="*/ 434340 w 1522730"/>
                  <a:gd name="connsiteY26" fmla="*/ 198120 h 594360"/>
                  <a:gd name="connsiteX27" fmla="*/ 434340 w 1522730"/>
                  <a:gd name="connsiteY27" fmla="*/ 173990 h 594360"/>
                  <a:gd name="connsiteX28" fmla="*/ 379730 w 1522730"/>
                  <a:gd name="connsiteY28" fmla="*/ 173990 h 594360"/>
                  <a:gd name="connsiteX29" fmla="*/ 379730 w 1522730"/>
                  <a:gd name="connsiteY29" fmla="*/ 153670 h 594360"/>
                  <a:gd name="connsiteX30" fmla="*/ 359410 w 1522730"/>
                  <a:gd name="connsiteY30" fmla="*/ 153670 h 594360"/>
                  <a:gd name="connsiteX31" fmla="*/ 359410 w 1522730"/>
                  <a:gd name="connsiteY31" fmla="*/ 114300 h 594360"/>
                  <a:gd name="connsiteX32" fmla="*/ 320040 w 1522730"/>
                  <a:gd name="connsiteY32" fmla="*/ 114300 h 594360"/>
                  <a:gd name="connsiteX33" fmla="*/ 320040 w 1522730"/>
                  <a:gd name="connsiteY33" fmla="*/ 80010 h 594360"/>
                  <a:gd name="connsiteX34" fmla="*/ 288290 w 1522730"/>
                  <a:gd name="connsiteY34" fmla="*/ 80010 h 594360"/>
                  <a:gd name="connsiteX35" fmla="*/ 288290 w 1522730"/>
                  <a:gd name="connsiteY35" fmla="*/ 62230 h 594360"/>
                  <a:gd name="connsiteX36" fmla="*/ 248920 w 1522730"/>
                  <a:gd name="connsiteY36" fmla="*/ 62230 h 594360"/>
                  <a:gd name="connsiteX37" fmla="*/ 248920 w 1522730"/>
                  <a:gd name="connsiteY37" fmla="*/ 43180 h 594360"/>
                  <a:gd name="connsiteX38" fmla="*/ 191770 w 1522730"/>
                  <a:gd name="connsiteY38" fmla="*/ 43180 h 594360"/>
                  <a:gd name="connsiteX39" fmla="*/ 146050 w 1522730"/>
                  <a:gd name="connsiteY39" fmla="*/ 43180 h 594360"/>
                  <a:gd name="connsiteX40" fmla="*/ 146050 w 1522730"/>
                  <a:gd name="connsiteY40" fmla="*/ 10160 h 594360"/>
                  <a:gd name="connsiteX41" fmla="*/ 7620 w 1522730"/>
                  <a:gd name="connsiteY41" fmla="*/ 10160 h 594360"/>
                  <a:gd name="connsiteX42" fmla="*/ 0 w 1522730"/>
                  <a:gd name="connsiteY42" fmla="*/ 0 h 59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22730" h="594360">
                    <a:moveTo>
                      <a:pt x="1522730" y="594360"/>
                    </a:moveTo>
                    <a:lnTo>
                      <a:pt x="1310640" y="594360"/>
                    </a:lnTo>
                    <a:lnTo>
                      <a:pt x="1310640" y="529590"/>
                    </a:lnTo>
                    <a:lnTo>
                      <a:pt x="1164590" y="529590"/>
                    </a:lnTo>
                    <a:lnTo>
                      <a:pt x="1164590" y="485140"/>
                    </a:lnTo>
                    <a:lnTo>
                      <a:pt x="1068070" y="485140"/>
                    </a:lnTo>
                    <a:lnTo>
                      <a:pt x="1062990" y="474980"/>
                    </a:lnTo>
                    <a:lnTo>
                      <a:pt x="1062990" y="435610"/>
                    </a:lnTo>
                    <a:lnTo>
                      <a:pt x="1041400" y="435610"/>
                    </a:lnTo>
                    <a:lnTo>
                      <a:pt x="1041400" y="398780"/>
                    </a:lnTo>
                    <a:lnTo>
                      <a:pt x="1026160" y="398780"/>
                    </a:lnTo>
                    <a:lnTo>
                      <a:pt x="1026160" y="365760"/>
                    </a:lnTo>
                    <a:lnTo>
                      <a:pt x="815340" y="365760"/>
                    </a:lnTo>
                    <a:lnTo>
                      <a:pt x="815340" y="340360"/>
                    </a:lnTo>
                    <a:lnTo>
                      <a:pt x="721360" y="340360"/>
                    </a:lnTo>
                    <a:lnTo>
                      <a:pt x="721360" y="317500"/>
                    </a:lnTo>
                    <a:lnTo>
                      <a:pt x="721360" y="317500"/>
                    </a:lnTo>
                    <a:lnTo>
                      <a:pt x="721360" y="295910"/>
                    </a:lnTo>
                    <a:lnTo>
                      <a:pt x="668020" y="295910"/>
                    </a:lnTo>
                    <a:lnTo>
                      <a:pt x="668020" y="264160"/>
                    </a:lnTo>
                    <a:lnTo>
                      <a:pt x="631190" y="264160"/>
                    </a:lnTo>
                    <a:lnTo>
                      <a:pt x="631190" y="251460"/>
                    </a:lnTo>
                    <a:lnTo>
                      <a:pt x="575310" y="251460"/>
                    </a:lnTo>
                    <a:lnTo>
                      <a:pt x="575310" y="219710"/>
                    </a:lnTo>
                    <a:lnTo>
                      <a:pt x="453390" y="219710"/>
                    </a:lnTo>
                    <a:lnTo>
                      <a:pt x="453390" y="198120"/>
                    </a:lnTo>
                    <a:lnTo>
                      <a:pt x="434340" y="198120"/>
                    </a:lnTo>
                    <a:lnTo>
                      <a:pt x="434340" y="173990"/>
                    </a:lnTo>
                    <a:lnTo>
                      <a:pt x="379730" y="173990"/>
                    </a:lnTo>
                    <a:lnTo>
                      <a:pt x="379730" y="153670"/>
                    </a:lnTo>
                    <a:lnTo>
                      <a:pt x="359410" y="153670"/>
                    </a:lnTo>
                    <a:lnTo>
                      <a:pt x="359410" y="114300"/>
                    </a:lnTo>
                    <a:lnTo>
                      <a:pt x="320040" y="114300"/>
                    </a:lnTo>
                    <a:lnTo>
                      <a:pt x="320040" y="80010"/>
                    </a:lnTo>
                    <a:lnTo>
                      <a:pt x="288290" y="80010"/>
                    </a:lnTo>
                    <a:lnTo>
                      <a:pt x="288290" y="62230"/>
                    </a:lnTo>
                    <a:lnTo>
                      <a:pt x="248920" y="62230"/>
                    </a:lnTo>
                    <a:lnTo>
                      <a:pt x="248920" y="43180"/>
                    </a:lnTo>
                    <a:lnTo>
                      <a:pt x="191770" y="43180"/>
                    </a:lnTo>
                    <a:lnTo>
                      <a:pt x="146050" y="43180"/>
                    </a:lnTo>
                    <a:lnTo>
                      <a:pt x="146050" y="10160"/>
                    </a:lnTo>
                    <a:lnTo>
                      <a:pt x="7620" y="10160"/>
                    </a:lnTo>
                    <a:lnTo>
                      <a:pt x="0" y="0"/>
                    </a:lnTo>
                  </a:path>
                </a:pathLst>
              </a:custGeom>
              <a:noFill/>
              <a:ln w="9525">
                <a:solidFill>
                  <a:srgbClr val="0083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468" name="Straight Connector 467">
                <a:extLst>
                  <a:ext uri="{FF2B5EF4-FFF2-40B4-BE49-F238E27FC236}">
                    <a16:creationId xmlns:a16="http://schemas.microsoft.com/office/drawing/2014/main" id="{3B428C8A-EDEE-4345-93B8-32D0B0FD4E14}"/>
                  </a:ext>
                </a:extLst>
              </p:cNvPr>
              <p:cNvCxnSpPr>
                <a:cxnSpLocks/>
              </p:cNvCxnSpPr>
              <p:nvPr/>
            </p:nvCxnSpPr>
            <p:spPr>
              <a:xfrm>
                <a:off x="8311515" y="4081643"/>
                <a:ext cx="0" cy="5016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69" name="Straight Connector 468">
                <a:extLst>
                  <a:ext uri="{FF2B5EF4-FFF2-40B4-BE49-F238E27FC236}">
                    <a16:creationId xmlns:a16="http://schemas.microsoft.com/office/drawing/2014/main" id="{81F98814-FA3E-4DD3-8822-1F97B6894182}"/>
                  </a:ext>
                </a:extLst>
              </p:cNvPr>
              <p:cNvCxnSpPr>
                <a:cxnSpLocks/>
              </p:cNvCxnSpPr>
              <p:nvPr/>
            </p:nvCxnSpPr>
            <p:spPr>
              <a:xfrm>
                <a:off x="8189595" y="4081643"/>
                <a:ext cx="0" cy="5016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70" name="Straight Connector 469">
                <a:extLst>
                  <a:ext uri="{FF2B5EF4-FFF2-40B4-BE49-F238E27FC236}">
                    <a16:creationId xmlns:a16="http://schemas.microsoft.com/office/drawing/2014/main" id="{9E6D413B-05B6-4143-A084-EAE28B1BBF44}"/>
                  </a:ext>
                </a:extLst>
              </p:cNvPr>
              <p:cNvCxnSpPr>
                <a:cxnSpLocks/>
              </p:cNvCxnSpPr>
              <p:nvPr/>
            </p:nvCxnSpPr>
            <p:spPr>
              <a:xfrm>
                <a:off x="8039100" y="4024493"/>
                <a:ext cx="0" cy="5016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71" name="Straight Connector 470">
                <a:extLst>
                  <a:ext uri="{FF2B5EF4-FFF2-40B4-BE49-F238E27FC236}">
                    <a16:creationId xmlns:a16="http://schemas.microsoft.com/office/drawing/2014/main" id="{B750EDE9-CD34-4266-90A8-7795E9E8B2F7}"/>
                  </a:ext>
                </a:extLst>
              </p:cNvPr>
              <p:cNvCxnSpPr>
                <a:cxnSpLocks/>
              </p:cNvCxnSpPr>
              <p:nvPr/>
            </p:nvCxnSpPr>
            <p:spPr>
              <a:xfrm>
                <a:off x="8136255" y="4024493"/>
                <a:ext cx="0" cy="5016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72" name="Straight Connector 471">
                <a:extLst>
                  <a:ext uri="{FF2B5EF4-FFF2-40B4-BE49-F238E27FC236}">
                    <a16:creationId xmlns:a16="http://schemas.microsoft.com/office/drawing/2014/main" id="{BC0AD95A-0493-4133-9DF2-EFE948614971}"/>
                  </a:ext>
                </a:extLst>
              </p:cNvPr>
              <p:cNvCxnSpPr>
                <a:cxnSpLocks/>
              </p:cNvCxnSpPr>
              <p:nvPr/>
            </p:nvCxnSpPr>
            <p:spPr>
              <a:xfrm>
                <a:off x="7976235" y="3974328"/>
                <a:ext cx="0" cy="5016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73" name="Straight Connector 472">
                <a:extLst>
                  <a:ext uri="{FF2B5EF4-FFF2-40B4-BE49-F238E27FC236}">
                    <a16:creationId xmlns:a16="http://schemas.microsoft.com/office/drawing/2014/main" id="{7638F153-20BC-4D59-96C8-CCA4E177F9CB}"/>
                  </a:ext>
                </a:extLst>
              </p:cNvPr>
              <p:cNvCxnSpPr>
                <a:cxnSpLocks/>
              </p:cNvCxnSpPr>
              <p:nvPr/>
            </p:nvCxnSpPr>
            <p:spPr>
              <a:xfrm>
                <a:off x="7783830" y="3858852"/>
                <a:ext cx="0" cy="5016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74" name="Straight Connector 473">
                <a:extLst>
                  <a:ext uri="{FF2B5EF4-FFF2-40B4-BE49-F238E27FC236}">
                    <a16:creationId xmlns:a16="http://schemas.microsoft.com/office/drawing/2014/main" id="{1C80E36D-6431-4253-9609-9751AD881290}"/>
                  </a:ext>
                </a:extLst>
              </p:cNvPr>
              <p:cNvCxnSpPr>
                <a:cxnSpLocks/>
              </p:cNvCxnSpPr>
              <p:nvPr/>
            </p:nvCxnSpPr>
            <p:spPr>
              <a:xfrm>
                <a:off x="7723822" y="3858852"/>
                <a:ext cx="0" cy="5016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75" name="Straight Connector 474">
                <a:extLst>
                  <a:ext uri="{FF2B5EF4-FFF2-40B4-BE49-F238E27FC236}">
                    <a16:creationId xmlns:a16="http://schemas.microsoft.com/office/drawing/2014/main" id="{0DA6C1C2-34FF-4B01-9755-69B09E788BB0}"/>
                  </a:ext>
                </a:extLst>
              </p:cNvPr>
              <p:cNvCxnSpPr>
                <a:cxnSpLocks/>
              </p:cNvCxnSpPr>
              <p:nvPr/>
            </p:nvCxnSpPr>
            <p:spPr>
              <a:xfrm>
                <a:off x="7704772" y="3858852"/>
                <a:ext cx="0" cy="5016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76" name="Straight Connector 475">
                <a:extLst>
                  <a:ext uri="{FF2B5EF4-FFF2-40B4-BE49-F238E27FC236}">
                    <a16:creationId xmlns:a16="http://schemas.microsoft.com/office/drawing/2014/main" id="{FF91FEBB-D8EA-4047-9D13-9C75546E6EC1}"/>
                  </a:ext>
                </a:extLst>
              </p:cNvPr>
              <p:cNvCxnSpPr>
                <a:cxnSpLocks/>
              </p:cNvCxnSpPr>
              <p:nvPr/>
            </p:nvCxnSpPr>
            <p:spPr>
              <a:xfrm>
                <a:off x="7682865" y="3858852"/>
                <a:ext cx="0" cy="5016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77" name="Straight Connector 476">
                <a:extLst>
                  <a:ext uri="{FF2B5EF4-FFF2-40B4-BE49-F238E27FC236}">
                    <a16:creationId xmlns:a16="http://schemas.microsoft.com/office/drawing/2014/main" id="{9DD5E610-E65D-4F8F-B5BF-A22253EEFA23}"/>
                  </a:ext>
                </a:extLst>
              </p:cNvPr>
              <p:cNvCxnSpPr>
                <a:cxnSpLocks/>
              </p:cNvCxnSpPr>
              <p:nvPr/>
            </p:nvCxnSpPr>
            <p:spPr>
              <a:xfrm flipH="1">
                <a:off x="7874317" y="3954600"/>
                <a:ext cx="50483" cy="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78" name="Straight Connector 477">
                <a:extLst>
                  <a:ext uri="{FF2B5EF4-FFF2-40B4-BE49-F238E27FC236}">
                    <a16:creationId xmlns:a16="http://schemas.microsoft.com/office/drawing/2014/main" id="{426E4FDA-A86D-40F3-BC7F-E54B1F2D1BCF}"/>
                  </a:ext>
                </a:extLst>
              </p:cNvPr>
              <p:cNvCxnSpPr>
                <a:cxnSpLocks/>
              </p:cNvCxnSpPr>
              <p:nvPr/>
            </p:nvCxnSpPr>
            <p:spPr>
              <a:xfrm flipH="1">
                <a:off x="7893367" y="3989842"/>
                <a:ext cx="50483" cy="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79" name="Straight Connector 478">
                <a:extLst>
                  <a:ext uri="{FF2B5EF4-FFF2-40B4-BE49-F238E27FC236}">
                    <a16:creationId xmlns:a16="http://schemas.microsoft.com/office/drawing/2014/main" id="{5CC4BBAC-3370-4911-A582-EB858CB28142}"/>
                  </a:ext>
                </a:extLst>
              </p:cNvPr>
              <p:cNvCxnSpPr>
                <a:cxnSpLocks/>
              </p:cNvCxnSpPr>
              <p:nvPr/>
            </p:nvCxnSpPr>
            <p:spPr>
              <a:xfrm>
                <a:off x="7633335" y="3833769"/>
                <a:ext cx="0" cy="5016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80" name="Straight Connector 479">
                <a:extLst>
                  <a:ext uri="{FF2B5EF4-FFF2-40B4-BE49-F238E27FC236}">
                    <a16:creationId xmlns:a16="http://schemas.microsoft.com/office/drawing/2014/main" id="{A3E52853-7565-40D9-AE4C-79F77BFF1F45}"/>
                  </a:ext>
                </a:extLst>
              </p:cNvPr>
              <p:cNvCxnSpPr>
                <a:cxnSpLocks/>
              </p:cNvCxnSpPr>
              <p:nvPr/>
            </p:nvCxnSpPr>
            <p:spPr>
              <a:xfrm>
                <a:off x="7592378" y="3833769"/>
                <a:ext cx="0" cy="5016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81" name="Straight Connector 480">
                <a:extLst>
                  <a:ext uri="{FF2B5EF4-FFF2-40B4-BE49-F238E27FC236}">
                    <a16:creationId xmlns:a16="http://schemas.microsoft.com/office/drawing/2014/main" id="{24DCA638-3545-43D9-8C25-D43882AAAFBA}"/>
                  </a:ext>
                </a:extLst>
              </p:cNvPr>
              <p:cNvCxnSpPr>
                <a:cxnSpLocks/>
              </p:cNvCxnSpPr>
              <p:nvPr/>
            </p:nvCxnSpPr>
            <p:spPr>
              <a:xfrm>
                <a:off x="7456170" y="3740424"/>
                <a:ext cx="0" cy="50165"/>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cxnSp>
            <p:nvCxnSpPr>
              <p:cNvPr id="482" name="Straight Connector 481">
                <a:extLst>
                  <a:ext uri="{FF2B5EF4-FFF2-40B4-BE49-F238E27FC236}">
                    <a16:creationId xmlns:a16="http://schemas.microsoft.com/office/drawing/2014/main" id="{E840F813-BCE0-48DA-8AEB-4FAC0B5847A2}"/>
                  </a:ext>
                </a:extLst>
              </p:cNvPr>
              <p:cNvCxnSpPr>
                <a:cxnSpLocks/>
              </p:cNvCxnSpPr>
              <p:nvPr/>
            </p:nvCxnSpPr>
            <p:spPr>
              <a:xfrm flipH="1">
                <a:off x="7405687" y="3752146"/>
                <a:ext cx="50483" cy="0"/>
              </a:xfrm>
              <a:prstGeom prst="line">
                <a:avLst/>
              </a:prstGeom>
              <a:ln>
                <a:solidFill>
                  <a:srgbClr val="008361"/>
                </a:solidFill>
              </a:ln>
            </p:spPr>
            <p:style>
              <a:lnRef idx="1">
                <a:schemeClr val="accent1"/>
              </a:lnRef>
              <a:fillRef idx="0">
                <a:schemeClr val="accent1"/>
              </a:fillRef>
              <a:effectRef idx="0">
                <a:schemeClr val="accent1"/>
              </a:effectRef>
              <a:fontRef idx="minor">
                <a:schemeClr val="tx1"/>
              </a:fontRef>
            </p:style>
          </p:cxnSp>
        </p:grpSp>
        <p:grpSp>
          <p:nvGrpSpPr>
            <p:cNvPr id="464" name="Group 463">
              <a:extLst>
                <a:ext uri="{FF2B5EF4-FFF2-40B4-BE49-F238E27FC236}">
                  <a16:creationId xmlns:a16="http://schemas.microsoft.com/office/drawing/2014/main" id="{0170EB59-E8F6-4616-8592-701216FDD996}"/>
                </a:ext>
              </a:extLst>
            </p:cNvPr>
            <p:cNvGrpSpPr/>
            <p:nvPr/>
          </p:nvGrpSpPr>
          <p:grpSpPr>
            <a:xfrm>
              <a:off x="2427208" y="4110026"/>
              <a:ext cx="1230723" cy="479242"/>
              <a:chOff x="6774087" y="4031809"/>
              <a:chExt cx="630554" cy="479242"/>
            </a:xfrm>
          </p:grpSpPr>
          <p:sp>
            <p:nvSpPr>
              <p:cNvPr id="465" name="Freeform: Shape 464">
                <a:extLst>
                  <a:ext uri="{FF2B5EF4-FFF2-40B4-BE49-F238E27FC236}">
                    <a16:creationId xmlns:a16="http://schemas.microsoft.com/office/drawing/2014/main" id="{BD444CBB-54A3-475A-95A6-BF4F3F12A433}"/>
                  </a:ext>
                </a:extLst>
              </p:cNvPr>
              <p:cNvSpPr/>
              <p:nvPr/>
            </p:nvSpPr>
            <p:spPr>
              <a:xfrm>
                <a:off x="7228471" y="4031809"/>
                <a:ext cx="176170" cy="479242"/>
              </a:xfrm>
              <a:custGeom>
                <a:avLst/>
                <a:gdLst>
                  <a:gd name="connsiteX0" fmla="*/ 0 w 944880"/>
                  <a:gd name="connsiteY0" fmla="*/ 0 h 668020"/>
                  <a:gd name="connsiteX1" fmla="*/ 944880 w 944880"/>
                  <a:gd name="connsiteY1" fmla="*/ 0 h 668020"/>
                  <a:gd name="connsiteX2" fmla="*/ 944880 w 944880"/>
                  <a:gd name="connsiteY2" fmla="*/ 668020 h 668020"/>
                </a:gdLst>
                <a:ahLst/>
                <a:cxnLst>
                  <a:cxn ang="0">
                    <a:pos x="connsiteX0" y="connsiteY0"/>
                  </a:cxn>
                  <a:cxn ang="0">
                    <a:pos x="connsiteX1" y="connsiteY1"/>
                  </a:cxn>
                  <a:cxn ang="0">
                    <a:pos x="connsiteX2" y="connsiteY2"/>
                  </a:cxn>
                </a:cxnLst>
                <a:rect l="l" t="t" r="r" b="b"/>
                <a:pathLst>
                  <a:path w="944880" h="668020">
                    <a:moveTo>
                      <a:pt x="0" y="0"/>
                    </a:moveTo>
                    <a:lnTo>
                      <a:pt x="944880" y="0"/>
                    </a:lnTo>
                    <a:lnTo>
                      <a:pt x="944880" y="668020"/>
                    </a:lnTo>
                  </a:path>
                </a:pathLst>
              </a:cu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6" name="Freeform: Shape 465">
                <a:extLst>
                  <a:ext uri="{FF2B5EF4-FFF2-40B4-BE49-F238E27FC236}">
                    <a16:creationId xmlns:a16="http://schemas.microsoft.com/office/drawing/2014/main" id="{49EEB2D4-57A0-4052-93C7-D29D697AFC75}"/>
                  </a:ext>
                </a:extLst>
              </p:cNvPr>
              <p:cNvSpPr/>
              <p:nvPr/>
            </p:nvSpPr>
            <p:spPr>
              <a:xfrm>
                <a:off x="6774087" y="4031809"/>
                <a:ext cx="447552" cy="479242"/>
              </a:xfrm>
              <a:custGeom>
                <a:avLst/>
                <a:gdLst>
                  <a:gd name="connsiteX0" fmla="*/ 0 w 944880"/>
                  <a:gd name="connsiteY0" fmla="*/ 0 h 668020"/>
                  <a:gd name="connsiteX1" fmla="*/ 944880 w 944880"/>
                  <a:gd name="connsiteY1" fmla="*/ 0 h 668020"/>
                  <a:gd name="connsiteX2" fmla="*/ 944880 w 944880"/>
                  <a:gd name="connsiteY2" fmla="*/ 668020 h 668020"/>
                </a:gdLst>
                <a:ahLst/>
                <a:cxnLst>
                  <a:cxn ang="0">
                    <a:pos x="connsiteX0" y="connsiteY0"/>
                  </a:cxn>
                  <a:cxn ang="0">
                    <a:pos x="connsiteX1" y="connsiteY1"/>
                  </a:cxn>
                  <a:cxn ang="0">
                    <a:pos x="connsiteX2" y="connsiteY2"/>
                  </a:cxn>
                </a:cxnLst>
                <a:rect l="l" t="t" r="r" b="b"/>
                <a:pathLst>
                  <a:path w="944880" h="668020">
                    <a:moveTo>
                      <a:pt x="0" y="0"/>
                    </a:moveTo>
                    <a:lnTo>
                      <a:pt x="944880" y="0"/>
                    </a:lnTo>
                    <a:lnTo>
                      <a:pt x="944880" y="668020"/>
                    </a:lnTo>
                  </a:path>
                </a:pathLst>
              </a:cu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505" name="TextBox 504">
            <a:extLst>
              <a:ext uri="{FF2B5EF4-FFF2-40B4-BE49-F238E27FC236}">
                <a16:creationId xmlns:a16="http://schemas.microsoft.com/office/drawing/2014/main" id="{01AED9DF-2BB7-445F-90C7-D6788A666781}"/>
              </a:ext>
            </a:extLst>
          </p:cNvPr>
          <p:cNvSpPr txBox="1"/>
          <p:nvPr/>
        </p:nvSpPr>
        <p:spPr>
          <a:xfrm>
            <a:off x="7862355" y="1176500"/>
            <a:ext cx="151288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8361"/>
                </a:solidFill>
                <a:effectLst/>
                <a:uLnTx/>
                <a:uFillTx/>
                <a:latin typeface="Arial" panose="020B0604020202020204"/>
                <a:ea typeface="+mn-ea"/>
                <a:cs typeface="+mn-cs"/>
              </a:rPr>
              <a:t>Patients with no CNS </a:t>
            </a:r>
            <a:r>
              <a:rPr kumimoji="0" lang="en-US" sz="700" b="0" i="0" u="none" strike="noStrike" kern="1200" cap="none" spc="0" normalizeH="0" baseline="0" noProof="0" err="1">
                <a:ln>
                  <a:noFill/>
                </a:ln>
                <a:solidFill>
                  <a:srgbClr val="008361"/>
                </a:solidFill>
                <a:effectLst/>
                <a:uLnTx/>
                <a:uFillTx/>
                <a:latin typeface="Arial" panose="020B0604020202020204"/>
                <a:ea typeface="+mn-ea"/>
                <a:cs typeface="+mn-cs"/>
              </a:rPr>
              <a:t>mets</a:t>
            </a:r>
            <a:endParaRPr kumimoji="0" lang="en-US" sz="700" b="0" i="0" u="none" strike="noStrike" kern="1200" cap="none" spc="0" normalizeH="0" baseline="0" noProof="0">
              <a:ln>
                <a:noFill/>
              </a:ln>
              <a:solidFill>
                <a:srgbClr val="00836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03661"/>
                </a:solidFill>
                <a:effectLst/>
                <a:uLnTx/>
                <a:uFillTx/>
                <a:latin typeface="Arial" panose="020B0604020202020204"/>
                <a:ea typeface="+mn-ea"/>
                <a:cs typeface="+mn-cs"/>
              </a:rPr>
              <a:t>Patients with CNS </a:t>
            </a:r>
            <a:r>
              <a:rPr kumimoji="0" lang="en-US" sz="700" b="0" i="0" u="none" strike="noStrike" kern="1200" cap="none" spc="0" normalizeH="0" baseline="0" noProof="0" err="1">
                <a:ln>
                  <a:noFill/>
                </a:ln>
                <a:solidFill>
                  <a:srgbClr val="203661"/>
                </a:solidFill>
                <a:effectLst/>
                <a:uLnTx/>
                <a:uFillTx/>
                <a:latin typeface="Arial" panose="020B0604020202020204"/>
                <a:ea typeface="+mn-ea"/>
                <a:cs typeface="+mn-cs"/>
              </a:rPr>
              <a:t>mets</a:t>
            </a:r>
            <a:r>
              <a:rPr kumimoji="0" lang="en-US" sz="700" b="0" i="0" u="none" strike="noStrike" kern="1200" cap="none" spc="0" normalizeH="0" baseline="0" noProof="0">
                <a:ln>
                  <a:noFill/>
                </a:ln>
                <a:solidFill>
                  <a:srgbClr val="203661"/>
                </a:solidFill>
                <a:effectLst/>
                <a:uLnTx/>
                <a:uFillTx/>
                <a:latin typeface="Arial" panose="020B0604020202020204"/>
                <a:ea typeface="+mn-ea"/>
                <a:cs typeface="+mn-cs"/>
              </a:rPr>
              <a:t> </a:t>
            </a:r>
          </a:p>
        </p:txBody>
      </p:sp>
      <p:sp>
        <p:nvSpPr>
          <p:cNvPr id="506" name="TextBox 505">
            <a:extLst>
              <a:ext uri="{FF2B5EF4-FFF2-40B4-BE49-F238E27FC236}">
                <a16:creationId xmlns:a16="http://schemas.microsoft.com/office/drawing/2014/main" id="{EC2527AD-8999-45E6-A639-784E3CF9890A}"/>
              </a:ext>
            </a:extLst>
          </p:cNvPr>
          <p:cNvSpPr txBox="1"/>
          <p:nvPr/>
        </p:nvSpPr>
        <p:spPr>
          <a:xfrm>
            <a:off x="5238884" y="2727675"/>
            <a:ext cx="11423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8361"/>
                </a:solidFill>
                <a:effectLst/>
                <a:uLnTx/>
                <a:uFillTx/>
                <a:latin typeface="Arial" panose="020B0604020202020204"/>
                <a:ea typeface="+mn-ea"/>
                <a:cs typeface="+mn-cs"/>
              </a:rPr>
              <a:t>Patients with no CNS </a:t>
            </a:r>
            <a:r>
              <a:rPr kumimoji="0" lang="en-US" sz="600" b="0" i="0" u="none" strike="noStrike" kern="1200" cap="none" spc="0" normalizeH="0" baseline="0" noProof="0" err="1">
                <a:ln>
                  <a:noFill/>
                </a:ln>
                <a:solidFill>
                  <a:srgbClr val="008361"/>
                </a:solidFill>
                <a:effectLst/>
                <a:uLnTx/>
                <a:uFillTx/>
                <a:latin typeface="Arial" panose="020B0604020202020204"/>
                <a:ea typeface="+mn-ea"/>
                <a:cs typeface="+mn-cs"/>
              </a:rPr>
              <a:t>mets</a:t>
            </a:r>
            <a:endParaRPr kumimoji="0" lang="en-US" sz="600" b="0" i="0" u="none" strike="noStrike" kern="1200" cap="none" spc="0" normalizeH="0" baseline="0" noProof="0">
              <a:ln>
                <a:noFill/>
              </a:ln>
              <a:solidFill>
                <a:srgbClr val="00836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203661"/>
                </a:solidFill>
                <a:effectLst/>
                <a:uLnTx/>
                <a:uFillTx/>
                <a:latin typeface="Arial" panose="020B0604020202020204"/>
                <a:ea typeface="+mn-ea"/>
                <a:cs typeface="+mn-cs"/>
              </a:rPr>
              <a:t>Patients with CNS </a:t>
            </a:r>
            <a:r>
              <a:rPr kumimoji="0" lang="en-US" sz="600" b="0" i="0" u="none" strike="noStrike" kern="1200" cap="none" spc="0" normalizeH="0" baseline="0" noProof="0" err="1">
                <a:ln>
                  <a:noFill/>
                </a:ln>
                <a:solidFill>
                  <a:srgbClr val="203661"/>
                </a:solidFill>
                <a:effectLst/>
                <a:uLnTx/>
                <a:uFillTx/>
                <a:latin typeface="Arial" panose="020B0604020202020204"/>
                <a:ea typeface="+mn-ea"/>
                <a:cs typeface="+mn-cs"/>
              </a:rPr>
              <a:t>mets</a:t>
            </a:r>
            <a:r>
              <a:rPr kumimoji="0" lang="en-US" sz="600" b="0" i="0" u="none" strike="noStrike" kern="1200" cap="none" spc="0" normalizeH="0" baseline="0" noProof="0">
                <a:ln>
                  <a:noFill/>
                </a:ln>
                <a:solidFill>
                  <a:srgbClr val="203661"/>
                </a:solidFill>
                <a:effectLst/>
                <a:uLnTx/>
                <a:uFillTx/>
                <a:latin typeface="Arial" panose="020B0604020202020204"/>
                <a:ea typeface="+mn-ea"/>
                <a:cs typeface="+mn-cs"/>
              </a:rPr>
              <a:t> </a:t>
            </a:r>
          </a:p>
        </p:txBody>
      </p:sp>
      <p:sp>
        <p:nvSpPr>
          <p:cNvPr id="507" name="TextBox 506">
            <a:extLst>
              <a:ext uri="{FF2B5EF4-FFF2-40B4-BE49-F238E27FC236}">
                <a16:creationId xmlns:a16="http://schemas.microsoft.com/office/drawing/2014/main" id="{C69742FA-CAF1-4FE9-B23B-D1A73E7F5797}"/>
              </a:ext>
            </a:extLst>
          </p:cNvPr>
          <p:cNvSpPr txBox="1"/>
          <p:nvPr/>
        </p:nvSpPr>
        <p:spPr>
          <a:xfrm>
            <a:off x="4163696" y="3767949"/>
            <a:ext cx="14393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8361"/>
                </a:solidFill>
                <a:effectLst/>
                <a:uLnTx/>
                <a:uFillTx/>
                <a:latin typeface="Arial" panose="020B0604020202020204"/>
                <a:ea typeface="+mn-ea"/>
                <a:cs typeface="+mn-cs"/>
              </a:rPr>
              <a:t>1 - 2 prior lines of 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03661"/>
                </a:solidFill>
                <a:effectLst/>
                <a:uLnTx/>
                <a:uFillTx/>
                <a:latin typeface="Arial" panose="020B0604020202020204"/>
                <a:ea typeface="+mn-ea"/>
                <a:cs typeface="+mn-cs"/>
              </a:rPr>
              <a:t>2+ prior lines of therapy</a:t>
            </a:r>
          </a:p>
        </p:txBody>
      </p:sp>
      <p:sp>
        <p:nvSpPr>
          <p:cNvPr id="508" name="TextBox 507">
            <a:extLst>
              <a:ext uri="{FF2B5EF4-FFF2-40B4-BE49-F238E27FC236}">
                <a16:creationId xmlns:a16="http://schemas.microsoft.com/office/drawing/2014/main" id="{F22A7AAE-F511-4432-A50D-E0BC6157C482}"/>
              </a:ext>
            </a:extLst>
          </p:cNvPr>
          <p:cNvSpPr txBox="1"/>
          <p:nvPr/>
        </p:nvSpPr>
        <p:spPr>
          <a:xfrm>
            <a:off x="8399441" y="3747120"/>
            <a:ext cx="14393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8361"/>
                </a:solidFill>
                <a:effectLst/>
                <a:uLnTx/>
                <a:uFillTx/>
                <a:latin typeface="Arial" panose="020B0604020202020204"/>
                <a:ea typeface="+mn-ea"/>
                <a:cs typeface="+mn-cs"/>
              </a:rPr>
              <a:t>1 - 2 prior lines of 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03661"/>
                </a:solidFill>
                <a:effectLst/>
                <a:uLnTx/>
                <a:uFillTx/>
                <a:latin typeface="Arial" panose="020B0604020202020204"/>
                <a:ea typeface="+mn-ea"/>
                <a:cs typeface="+mn-cs"/>
              </a:rPr>
              <a:t>2+ prior lines of therapy</a:t>
            </a:r>
          </a:p>
        </p:txBody>
      </p:sp>
      <p:sp>
        <p:nvSpPr>
          <p:cNvPr id="509" name="TextBox 508">
            <a:extLst>
              <a:ext uri="{FF2B5EF4-FFF2-40B4-BE49-F238E27FC236}">
                <a16:creationId xmlns:a16="http://schemas.microsoft.com/office/drawing/2014/main" id="{0567A2D6-A62F-43E9-A821-0956F56A0789}"/>
              </a:ext>
            </a:extLst>
          </p:cNvPr>
          <p:cNvSpPr txBox="1"/>
          <p:nvPr/>
        </p:nvSpPr>
        <p:spPr>
          <a:xfrm>
            <a:off x="582665" y="5191105"/>
            <a:ext cx="14393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8361"/>
                </a:solidFill>
                <a:effectLst/>
                <a:uLnTx/>
                <a:uFillTx/>
                <a:latin typeface="Arial" panose="020B0604020202020204"/>
                <a:ea typeface="+mn-ea"/>
                <a:cs typeface="+mn-cs"/>
              </a:rPr>
              <a:t>1 - 2 prior lines of 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03661"/>
                </a:solidFill>
                <a:effectLst/>
                <a:uLnTx/>
                <a:uFillTx/>
                <a:latin typeface="Arial" panose="020B0604020202020204"/>
                <a:ea typeface="+mn-ea"/>
                <a:cs typeface="+mn-cs"/>
              </a:rPr>
              <a:t>2+ prior lines of therapy</a:t>
            </a:r>
          </a:p>
        </p:txBody>
      </p:sp>
      <p:sp>
        <p:nvSpPr>
          <p:cNvPr id="510" name="TextBox 509">
            <a:extLst>
              <a:ext uri="{FF2B5EF4-FFF2-40B4-BE49-F238E27FC236}">
                <a16:creationId xmlns:a16="http://schemas.microsoft.com/office/drawing/2014/main" id="{2A137289-46F9-42A2-85DE-F2CF335D6201}"/>
              </a:ext>
            </a:extLst>
          </p:cNvPr>
          <p:cNvSpPr txBox="1"/>
          <p:nvPr/>
        </p:nvSpPr>
        <p:spPr>
          <a:xfrm>
            <a:off x="5268234" y="5201795"/>
            <a:ext cx="14393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8361"/>
                </a:solidFill>
                <a:effectLst/>
                <a:uLnTx/>
                <a:uFillTx/>
                <a:latin typeface="Arial" panose="020B0604020202020204"/>
                <a:ea typeface="+mn-ea"/>
                <a:cs typeface="+mn-cs"/>
              </a:rPr>
              <a:t>1 - 2 prior lines of 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03661"/>
                </a:solidFill>
                <a:effectLst/>
                <a:uLnTx/>
                <a:uFillTx/>
                <a:latin typeface="Arial" panose="020B0604020202020204"/>
                <a:ea typeface="+mn-ea"/>
                <a:cs typeface="+mn-cs"/>
              </a:rPr>
              <a:t>2+ prior lines of therapy</a:t>
            </a:r>
          </a:p>
        </p:txBody>
      </p:sp>
      <p:sp>
        <p:nvSpPr>
          <p:cNvPr id="511" name="TextBox 510">
            <a:extLst>
              <a:ext uri="{FF2B5EF4-FFF2-40B4-BE49-F238E27FC236}">
                <a16:creationId xmlns:a16="http://schemas.microsoft.com/office/drawing/2014/main" id="{7DA21C5F-3E35-43F4-B4B0-63940D17F43C}"/>
              </a:ext>
            </a:extLst>
          </p:cNvPr>
          <p:cNvSpPr txBox="1"/>
          <p:nvPr/>
        </p:nvSpPr>
        <p:spPr>
          <a:xfrm>
            <a:off x="924286" y="993508"/>
            <a:ext cx="123385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rPr>
              <a:t>(A)</a:t>
            </a:r>
            <a:endParaRPr kumimoji="0" lang="en-US" sz="40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endParaRPr>
          </a:p>
        </p:txBody>
      </p:sp>
      <p:sp>
        <p:nvSpPr>
          <p:cNvPr id="512" name="TextBox 511">
            <a:extLst>
              <a:ext uri="{FF2B5EF4-FFF2-40B4-BE49-F238E27FC236}">
                <a16:creationId xmlns:a16="http://schemas.microsoft.com/office/drawing/2014/main" id="{27FCC523-B182-4633-831E-BCD57D0954FC}"/>
              </a:ext>
            </a:extLst>
          </p:cNvPr>
          <p:cNvSpPr txBox="1"/>
          <p:nvPr/>
        </p:nvSpPr>
        <p:spPr>
          <a:xfrm>
            <a:off x="5829410" y="985120"/>
            <a:ext cx="123385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rPr>
              <a:t>(</a:t>
            </a:r>
            <a:r>
              <a:rPr lang="en-US" sz="1400">
                <a:solidFill>
                  <a:srgbClr val="54565B"/>
                </a:solidFill>
                <a:latin typeface="Trebuchet MS" panose="020B0603020202020204" pitchFamily="34" charset="0"/>
              </a:rPr>
              <a:t>B</a:t>
            </a:r>
            <a:r>
              <a:rPr kumimoji="0" lang="en-US" sz="14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rPr>
              <a:t>)</a:t>
            </a:r>
            <a:endParaRPr kumimoji="0" lang="en-US" sz="40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endParaRPr>
          </a:p>
        </p:txBody>
      </p:sp>
      <p:sp>
        <p:nvSpPr>
          <p:cNvPr id="513" name="TextBox 512">
            <a:extLst>
              <a:ext uri="{FF2B5EF4-FFF2-40B4-BE49-F238E27FC236}">
                <a16:creationId xmlns:a16="http://schemas.microsoft.com/office/drawing/2014/main" id="{8C93B5E5-C4E2-49F9-A395-596FDDE88443}"/>
              </a:ext>
            </a:extLst>
          </p:cNvPr>
          <p:cNvSpPr txBox="1"/>
          <p:nvPr/>
        </p:nvSpPr>
        <p:spPr>
          <a:xfrm>
            <a:off x="936603" y="3548990"/>
            <a:ext cx="123385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rPr>
              <a:t>(A)</a:t>
            </a:r>
            <a:endParaRPr kumimoji="0" lang="en-US" sz="40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endParaRPr>
          </a:p>
        </p:txBody>
      </p:sp>
      <p:sp>
        <p:nvSpPr>
          <p:cNvPr id="514" name="TextBox 513">
            <a:extLst>
              <a:ext uri="{FF2B5EF4-FFF2-40B4-BE49-F238E27FC236}">
                <a16:creationId xmlns:a16="http://schemas.microsoft.com/office/drawing/2014/main" id="{C2BAF0DB-8AAE-49F4-9616-9CCD7A49345D}"/>
              </a:ext>
            </a:extLst>
          </p:cNvPr>
          <p:cNvSpPr txBox="1"/>
          <p:nvPr/>
        </p:nvSpPr>
        <p:spPr>
          <a:xfrm>
            <a:off x="5841727" y="3540602"/>
            <a:ext cx="123385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rPr>
              <a:t>(</a:t>
            </a:r>
            <a:r>
              <a:rPr lang="en-US" sz="1400">
                <a:solidFill>
                  <a:srgbClr val="54565B"/>
                </a:solidFill>
                <a:latin typeface="Trebuchet MS" panose="020B0603020202020204" pitchFamily="34" charset="0"/>
              </a:rPr>
              <a:t>B</a:t>
            </a:r>
            <a:r>
              <a:rPr kumimoji="0" lang="en-US" sz="14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rPr>
              <a:t>)</a:t>
            </a:r>
            <a:endParaRPr kumimoji="0" lang="en-US" sz="40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28528321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CC565F1-6ECA-4A54-89D2-F4F21842C4A0}"/>
              </a:ext>
            </a:extLst>
          </p:cNvPr>
          <p:cNvSpPr>
            <a:spLocks noGrp="1"/>
          </p:cNvSpPr>
          <p:nvPr>
            <p:ph type="title"/>
          </p:nvPr>
        </p:nvSpPr>
        <p:spPr/>
        <p:txBody>
          <a:bodyPr/>
          <a:lstStyle/>
          <a:p>
            <a:r>
              <a:rPr lang="en-US">
                <a:solidFill>
                  <a:srgbClr val="203661"/>
                </a:solidFill>
                <a:latin typeface="Trebuchet MS" panose="020B0603020202020204" pitchFamily="34" charset="0"/>
                <a:ea typeface="+mj-ea"/>
              </a:rPr>
              <a:t>Results: Toxicity</a:t>
            </a:r>
            <a:r>
              <a:rPr lang="en-US" baseline="30000">
                <a:solidFill>
                  <a:srgbClr val="203661"/>
                </a:solidFill>
                <a:latin typeface="Trebuchet MS" panose="020B0603020202020204" pitchFamily="34" charset="0"/>
                <a:ea typeface="+mj-ea"/>
              </a:rPr>
              <a:t>1</a:t>
            </a:r>
            <a:br>
              <a:rPr lang="en-US" sz="2400"/>
            </a:br>
            <a:br>
              <a:rPr lang="en-US" sz="2400"/>
            </a:br>
            <a:br>
              <a:rPr lang="en-CH"/>
            </a:br>
            <a:endParaRPr lang="en-IN" baseline="30000"/>
          </a:p>
        </p:txBody>
      </p:sp>
      <p:sp>
        <p:nvSpPr>
          <p:cNvPr id="12" name="Text Placeholder 11">
            <a:extLst>
              <a:ext uri="{FF2B5EF4-FFF2-40B4-BE49-F238E27FC236}">
                <a16:creationId xmlns:a16="http://schemas.microsoft.com/office/drawing/2014/main" id="{DE2F887C-C2AE-4BCB-9230-50E7EAC81F38}"/>
              </a:ext>
            </a:extLst>
          </p:cNvPr>
          <p:cNvSpPr>
            <a:spLocks noGrp="1"/>
          </p:cNvSpPr>
          <p:nvPr>
            <p:ph type="body" sz="quarter" idx="13"/>
          </p:nvPr>
        </p:nvSpPr>
        <p:spPr>
          <a:xfrm>
            <a:off x="568793" y="5964198"/>
            <a:ext cx="9478456" cy="704449"/>
          </a:xfrm>
        </p:spPr>
        <p:txBody>
          <a:bodyPr/>
          <a:lstStyle/>
          <a:p>
            <a:pPr>
              <a:spcAft>
                <a:spcPts val="0"/>
              </a:spcAft>
            </a:pPr>
            <a:r>
              <a:rPr lang="en-US" sz="700" kern="1200">
                <a:latin typeface="Trebuchet MS" panose="020B0603020202020204" pitchFamily="34" charset="0"/>
                <a:ea typeface="Helvetica" charset="0"/>
                <a:cs typeface="Helvetica"/>
              </a:rPr>
              <a:t>SG, </a:t>
            </a:r>
            <a:r>
              <a:rPr lang="en-US" sz="700" kern="1200" err="1">
                <a:latin typeface="Trebuchet MS" panose="020B0603020202020204" pitchFamily="34" charset="0"/>
                <a:ea typeface="Helvetica" charset="0"/>
                <a:cs typeface="Helvetica"/>
              </a:rPr>
              <a:t>sacituzumab</a:t>
            </a:r>
            <a:r>
              <a:rPr lang="en-US" sz="700" kern="1200">
                <a:latin typeface="Trebuchet MS" panose="020B0603020202020204" pitchFamily="34" charset="0"/>
                <a:ea typeface="Helvetica" charset="0"/>
                <a:cs typeface="Helvetica"/>
              </a:rPr>
              <a:t> </a:t>
            </a:r>
            <a:r>
              <a:rPr lang="en-US" sz="700" kern="1200" err="1">
                <a:latin typeface="Trebuchet MS" panose="020B0603020202020204" pitchFamily="34" charset="0"/>
                <a:ea typeface="Helvetica" charset="0"/>
                <a:cs typeface="Helvetica"/>
              </a:rPr>
              <a:t>govitecan</a:t>
            </a:r>
            <a:r>
              <a:rPr lang="en-US" sz="700" kern="1200">
                <a:latin typeface="Trebuchet MS" panose="020B0603020202020204" pitchFamily="34" charset="0"/>
                <a:ea typeface="Helvetica" charset="0"/>
                <a:cs typeface="Helvetica"/>
              </a:rPr>
              <a:t>. </a:t>
            </a:r>
          </a:p>
          <a:p>
            <a:pPr>
              <a:spcAft>
                <a:spcPts val="0"/>
              </a:spcAft>
            </a:pPr>
            <a:r>
              <a:rPr lang="en-US" sz="700" kern="1200">
                <a:latin typeface="Trebuchet MS" panose="020B0603020202020204" pitchFamily="34" charset="0"/>
                <a:ea typeface="Helvetica" charset="0"/>
                <a:cs typeface="Helvetica"/>
              </a:rPr>
              <a:t>1. </a:t>
            </a:r>
            <a:r>
              <a:rPr lang="en-US" sz="700" kern="1200" err="1">
                <a:latin typeface="Trebuchet MS" panose="020B0603020202020204" pitchFamily="34" charset="0"/>
                <a:ea typeface="Helvetica" charset="0"/>
                <a:cs typeface="Helvetica"/>
              </a:rPr>
              <a:t>Loirat</a:t>
            </a:r>
            <a:r>
              <a:rPr lang="en-US" sz="700" kern="1200">
                <a:latin typeface="Trebuchet MS" panose="020B0603020202020204" pitchFamily="34" charset="0"/>
                <a:ea typeface="Helvetica" charset="0"/>
                <a:cs typeface="Helvetica"/>
              </a:rPr>
              <a:t> D, et al. Poster presented at: ESMO Breast Cancer 2023; May 11-13, 2023; Berlin, Germany. Abstract #216P</a:t>
            </a:r>
          </a:p>
        </p:txBody>
      </p:sp>
      <p:sp>
        <p:nvSpPr>
          <p:cNvPr id="60" name="TextBox 59">
            <a:extLst>
              <a:ext uri="{FF2B5EF4-FFF2-40B4-BE49-F238E27FC236}">
                <a16:creationId xmlns:a16="http://schemas.microsoft.com/office/drawing/2014/main" id="{F1BC26AD-21F9-489D-ADF1-D6E5D2CC1473}"/>
              </a:ext>
            </a:extLst>
          </p:cNvPr>
          <p:cNvSpPr txBox="1"/>
          <p:nvPr/>
        </p:nvSpPr>
        <p:spPr>
          <a:xfrm>
            <a:off x="690811" y="5067708"/>
            <a:ext cx="10943547" cy="95410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Most of SG discontinuation was due to disease progress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At data cut off, 25 patients were on treat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54565B"/>
                </a:solidFill>
                <a:latin typeface="Trebuchet MS" panose="020B0603020202020204" pitchFamily="34" charset="0"/>
              </a:rPr>
              <a:t>O</a:t>
            </a:r>
            <a:r>
              <a:rPr kumimoji="0" lang="en-US" sz="140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ne patient had SG discontinuation due to toxicit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Adverse events leading to SG dose reduction were consistent with data reported in ASCENT study.</a:t>
            </a:r>
          </a:p>
        </p:txBody>
      </p:sp>
      <p:graphicFrame>
        <p:nvGraphicFramePr>
          <p:cNvPr id="6" name="Table 4">
            <a:extLst>
              <a:ext uri="{FF2B5EF4-FFF2-40B4-BE49-F238E27FC236}">
                <a16:creationId xmlns:a16="http://schemas.microsoft.com/office/drawing/2014/main" id="{7D6CA48B-168D-40A2-9894-1AD193466879}"/>
              </a:ext>
            </a:extLst>
          </p:cNvPr>
          <p:cNvGraphicFramePr>
            <a:graphicFrameLocks noGrp="1"/>
          </p:cNvGraphicFramePr>
          <p:nvPr>
            <p:ph idx="1"/>
            <p:extLst>
              <p:ext uri="{D42A27DB-BD31-4B8C-83A1-F6EECF244321}">
                <p14:modId xmlns:p14="http://schemas.microsoft.com/office/powerpoint/2010/main" val="2042330508"/>
              </p:ext>
            </p:extLst>
          </p:nvPr>
        </p:nvGraphicFramePr>
        <p:xfrm>
          <a:off x="690811" y="1704502"/>
          <a:ext cx="5141228" cy="2332470"/>
        </p:xfrm>
        <a:graphic>
          <a:graphicData uri="http://schemas.openxmlformats.org/drawingml/2006/table">
            <a:tbl>
              <a:tblPr firstRow="1" bandRow="1">
                <a:tableStyleId>{5C22544A-7EE6-4342-B048-85BDC9FD1C3A}</a:tableStyleId>
              </a:tblPr>
              <a:tblGrid>
                <a:gridCol w="2594254">
                  <a:extLst>
                    <a:ext uri="{9D8B030D-6E8A-4147-A177-3AD203B41FA5}">
                      <a16:colId xmlns:a16="http://schemas.microsoft.com/office/drawing/2014/main" val="1548546927"/>
                    </a:ext>
                  </a:extLst>
                </a:gridCol>
                <a:gridCol w="1232904">
                  <a:extLst>
                    <a:ext uri="{9D8B030D-6E8A-4147-A177-3AD203B41FA5}">
                      <a16:colId xmlns:a16="http://schemas.microsoft.com/office/drawing/2014/main" val="2789161514"/>
                    </a:ext>
                  </a:extLst>
                </a:gridCol>
                <a:gridCol w="1314070">
                  <a:extLst>
                    <a:ext uri="{9D8B030D-6E8A-4147-A177-3AD203B41FA5}">
                      <a16:colId xmlns:a16="http://schemas.microsoft.com/office/drawing/2014/main" val="4077616650"/>
                    </a:ext>
                  </a:extLst>
                </a:gridCol>
              </a:tblGrid>
              <a:tr h="575130">
                <a:tc>
                  <a:txBody>
                    <a:bodyPr/>
                    <a:lstStyle/>
                    <a:p>
                      <a:endParaRPr lang="en-US" sz="1050">
                        <a:latin typeface="Trebuchet MS" panose="020B0603020202020204" pitchFamily="34" charset="0"/>
                      </a:endParaRPr>
                    </a:p>
                  </a:txBody>
                  <a:tcPr anchor="ctr"/>
                </a:tc>
                <a:tc>
                  <a:txBody>
                    <a:bodyPr/>
                    <a:lstStyle/>
                    <a:p>
                      <a:r>
                        <a:rPr lang="en-US" sz="1050">
                          <a:latin typeface="Trebuchet MS" panose="020B0603020202020204" pitchFamily="34" charset="0"/>
                        </a:rPr>
                        <a:t>All cohort (n=103)</a:t>
                      </a:r>
                    </a:p>
                  </a:txBody>
                  <a:tcPr anchor="ctr"/>
                </a:tc>
                <a:tc>
                  <a:txBody>
                    <a:bodyPr/>
                    <a:lstStyle/>
                    <a:p>
                      <a:r>
                        <a:rPr lang="en-US" sz="1050">
                          <a:latin typeface="Trebuchet MS" panose="020B0603020202020204" pitchFamily="34" charset="0"/>
                        </a:rPr>
                        <a:t>Brain metastases cohort (n=32)</a:t>
                      </a:r>
                    </a:p>
                  </a:txBody>
                  <a:tcPr anchor="ctr"/>
                </a:tc>
                <a:extLst>
                  <a:ext uri="{0D108BD9-81ED-4DB2-BD59-A6C34878D82A}">
                    <a16:rowId xmlns:a16="http://schemas.microsoft.com/office/drawing/2014/main" val="3951401061"/>
                  </a:ext>
                </a:extLst>
              </a:tr>
              <a:tr h="351468">
                <a:tc>
                  <a:txBody>
                    <a:bodyPr/>
                    <a:lstStyle/>
                    <a:p>
                      <a:r>
                        <a:rPr lang="en-US" sz="1050" b="1">
                          <a:latin typeface="Trebuchet MS" panose="020B0603020202020204" pitchFamily="34" charset="0"/>
                        </a:rPr>
                        <a:t>SG discontinuation </a:t>
                      </a:r>
                    </a:p>
                  </a:txBody>
                  <a:tcPr anchor="ctr"/>
                </a:tc>
                <a:tc>
                  <a:txBody>
                    <a:bodyPr/>
                    <a:lstStyle/>
                    <a:p>
                      <a:r>
                        <a:rPr lang="en-US" sz="1050" b="1">
                          <a:latin typeface="Trebuchet MS" panose="020B0603020202020204" pitchFamily="34" charset="0"/>
                        </a:rPr>
                        <a:t>78 (75.7%)</a:t>
                      </a:r>
                    </a:p>
                  </a:txBody>
                  <a:tcPr anchor="ctr"/>
                </a:tc>
                <a:tc>
                  <a:txBody>
                    <a:bodyPr/>
                    <a:lstStyle/>
                    <a:p>
                      <a:r>
                        <a:rPr lang="en-US" sz="1050" b="1">
                          <a:latin typeface="Trebuchet MS" panose="020B0603020202020204" pitchFamily="34" charset="0"/>
                        </a:rPr>
                        <a:t>26 (81.2%)</a:t>
                      </a:r>
                    </a:p>
                  </a:txBody>
                  <a:tcPr anchor="ctr"/>
                </a:tc>
                <a:extLst>
                  <a:ext uri="{0D108BD9-81ED-4DB2-BD59-A6C34878D82A}">
                    <a16:rowId xmlns:a16="http://schemas.microsoft.com/office/drawing/2014/main" val="2076730933"/>
                  </a:ext>
                </a:extLst>
              </a:tr>
              <a:tr h="351468">
                <a:tc>
                  <a:txBody>
                    <a:bodyPr/>
                    <a:lstStyle/>
                    <a:p>
                      <a:pPr marL="182880" lvl="1"/>
                      <a:r>
                        <a:rPr lang="en-US" sz="1050" b="0">
                          <a:latin typeface="Trebuchet MS" panose="020B0603020202020204" pitchFamily="34" charset="0"/>
                        </a:rPr>
                        <a:t>Progressive disease, n (%)</a:t>
                      </a:r>
                    </a:p>
                  </a:txBody>
                  <a:tcPr anchor="ctr"/>
                </a:tc>
                <a:tc>
                  <a:txBody>
                    <a:bodyPr/>
                    <a:lstStyle/>
                    <a:p>
                      <a:pPr marL="0" lvl="1"/>
                      <a:r>
                        <a:rPr lang="en-US" sz="1050" b="0">
                          <a:latin typeface="Trebuchet MS" panose="020B0603020202020204" pitchFamily="34" charset="0"/>
                        </a:rPr>
                        <a:t>73 (93.6%)</a:t>
                      </a: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24 (92.3%)</a:t>
                      </a:r>
                    </a:p>
                  </a:txBody>
                  <a:tcPr anchor="ctr"/>
                </a:tc>
                <a:extLst>
                  <a:ext uri="{0D108BD9-81ED-4DB2-BD59-A6C34878D82A}">
                    <a16:rowId xmlns:a16="http://schemas.microsoft.com/office/drawing/2014/main" val="3743589647"/>
                  </a:ext>
                </a:extLst>
              </a:tr>
              <a:tr h="351468">
                <a:tc>
                  <a:txBody>
                    <a:bodyPr/>
                    <a:lstStyle/>
                    <a:p>
                      <a:pPr marL="182880" lvl="0"/>
                      <a:r>
                        <a:rPr lang="en-US" sz="1050" b="0">
                          <a:latin typeface="Trebuchet MS" panose="020B0603020202020204" pitchFamily="34" charset="0"/>
                        </a:rPr>
                        <a:t>Toxicity, n (%)</a:t>
                      </a:r>
                    </a:p>
                  </a:txBody>
                  <a:tcPr anchor="ctr"/>
                </a:tc>
                <a:tc>
                  <a:txBody>
                    <a:bodyPr/>
                    <a:lstStyle/>
                    <a:p>
                      <a:pPr lvl="0"/>
                      <a:r>
                        <a:rPr lang="fr-FR" sz="1050" b="0">
                          <a:latin typeface="Trebuchet MS" panose="020B0603020202020204" pitchFamily="34" charset="0"/>
                        </a:rPr>
                        <a:t>1 (1.3%)</a:t>
                      </a:r>
                    </a:p>
                  </a:txBody>
                  <a:tcPr anchor="ctr"/>
                </a:tc>
                <a:tc>
                  <a:txBody>
                    <a:bodyPr/>
                    <a:lstStyle/>
                    <a:p>
                      <a:pPr lvl="0"/>
                      <a:r>
                        <a:rPr lang="fr-FR" sz="1050" b="0">
                          <a:latin typeface="Trebuchet MS" panose="020B0603020202020204" pitchFamily="34" charset="0"/>
                        </a:rPr>
                        <a:t>0 (0%)</a:t>
                      </a:r>
                    </a:p>
                  </a:txBody>
                  <a:tcPr anchor="ctr"/>
                </a:tc>
                <a:extLst>
                  <a:ext uri="{0D108BD9-81ED-4DB2-BD59-A6C34878D82A}">
                    <a16:rowId xmlns:a16="http://schemas.microsoft.com/office/drawing/2014/main" val="3289124124"/>
                  </a:ext>
                </a:extLst>
              </a:tr>
              <a:tr h="351468">
                <a:tc>
                  <a:txBody>
                    <a:body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Physical deterioration, n (%)</a:t>
                      </a: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3 (3.8%)</a:t>
                      </a: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2 (7.7%)</a:t>
                      </a:r>
                    </a:p>
                  </a:txBody>
                  <a:tcPr anchor="ctr"/>
                </a:tc>
                <a:extLst>
                  <a:ext uri="{0D108BD9-81ED-4DB2-BD59-A6C34878D82A}">
                    <a16:rowId xmlns:a16="http://schemas.microsoft.com/office/drawing/2014/main" val="2224747660"/>
                  </a:ext>
                </a:extLst>
              </a:tr>
              <a:tr h="351468">
                <a:tc>
                  <a:txBody>
                    <a:body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Patient’s request, n (%)</a:t>
                      </a: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1 (1.3%)</a:t>
                      </a: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0 (0%)</a:t>
                      </a:r>
                    </a:p>
                  </a:txBody>
                  <a:tcPr anchor="ctr"/>
                </a:tc>
                <a:extLst>
                  <a:ext uri="{0D108BD9-81ED-4DB2-BD59-A6C34878D82A}">
                    <a16:rowId xmlns:a16="http://schemas.microsoft.com/office/drawing/2014/main" val="2946782246"/>
                  </a:ext>
                </a:extLst>
              </a:tr>
            </a:tbl>
          </a:graphicData>
        </a:graphic>
      </p:graphicFrame>
      <p:graphicFrame>
        <p:nvGraphicFramePr>
          <p:cNvPr id="7" name="Table 4">
            <a:extLst>
              <a:ext uri="{FF2B5EF4-FFF2-40B4-BE49-F238E27FC236}">
                <a16:creationId xmlns:a16="http://schemas.microsoft.com/office/drawing/2014/main" id="{BA24A85D-2D56-42F6-8FBD-A5E3CE969F80}"/>
              </a:ext>
            </a:extLst>
          </p:cNvPr>
          <p:cNvGraphicFramePr>
            <a:graphicFrameLocks/>
          </p:cNvGraphicFramePr>
          <p:nvPr/>
        </p:nvGraphicFramePr>
        <p:xfrm>
          <a:off x="6241307" y="1621371"/>
          <a:ext cx="5141228" cy="3035406"/>
        </p:xfrm>
        <a:graphic>
          <a:graphicData uri="http://schemas.openxmlformats.org/drawingml/2006/table">
            <a:tbl>
              <a:tblPr firstRow="1" bandRow="1">
                <a:tableStyleId>{5C22544A-7EE6-4342-B048-85BDC9FD1C3A}</a:tableStyleId>
              </a:tblPr>
              <a:tblGrid>
                <a:gridCol w="2600096">
                  <a:extLst>
                    <a:ext uri="{9D8B030D-6E8A-4147-A177-3AD203B41FA5}">
                      <a16:colId xmlns:a16="http://schemas.microsoft.com/office/drawing/2014/main" val="1548546927"/>
                    </a:ext>
                  </a:extLst>
                </a:gridCol>
                <a:gridCol w="1208895">
                  <a:extLst>
                    <a:ext uri="{9D8B030D-6E8A-4147-A177-3AD203B41FA5}">
                      <a16:colId xmlns:a16="http://schemas.microsoft.com/office/drawing/2014/main" val="2789161514"/>
                    </a:ext>
                  </a:extLst>
                </a:gridCol>
                <a:gridCol w="1332237">
                  <a:extLst>
                    <a:ext uri="{9D8B030D-6E8A-4147-A177-3AD203B41FA5}">
                      <a16:colId xmlns:a16="http://schemas.microsoft.com/office/drawing/2014/main" val="4077616650"/>
                    </a:ext>
                  </a:extLst>
                </a:gridCol>
              </a:tblGrid>
              <a:tr h="575130">
                <a:tc>
                  <a:txBody>
                    <a:bodyPr/>
                    <a:lstStyle/>
                    <a:p>
                      <a:endParaRPr lang="en-US" sz="1050">
                        <a:latin typeface="Trebuchet MS" panose="020B0603020202020204" pitchFamily="34" charset="0"/>
                      </a:endParaRPr>
                    </a:p>
                  </a:txBody>
                  <a:tcPr anchor="ctr"/>
                </a:tc>
                <a:tc>
                  <a:txBody>
                    <a:bodyPr/>
                    <a:lstStyle/>
                    <a:p>
                      <a:r>
                        <a:rPr lang="en-US" sz="1050">
                          <a:latin typeface="Trebuchet MS" panose="020B0603020202020204" pitchFamily="34" charset="0"/>
                        </a:rPr>
                        <a:t>All cohort (n=103)</a:t>
                      </a:r>
                    </a:p>
                  </a:txBody>
                  <a:tcPr anchor="ctr"/>
                </a:tc>
                <a:tc>
                  <a:txBody>
                    <a:bodyPr/>
                    <a:lstStyle/>
                    <a:p>
                      <a:r>
                        <a:rPr lang="en-US" sz="1050">
                          <a:latin typeface="Trebuchet MS" panose="020B0603020202020204" pitchFamily="34" charset="0"/>
                        </a:rPr>
                        <a:t>Brain metastases cohort (n=32)</a:t>
                      </a:r>
                    </a:p>
                  </a:txBody>
                  <a:tcPr anchor="ctr"/>
                </a:tc>
                <a:extLst>
                  <a:ext uri="{0D108BD9-81ED-4DB2-BD59-A6C34878D82A}">
                    <a16:rowId xmlns:a16="http://schemas.microsoft.com/office/drawing/2014/main" val="3951401061"/>
                  </a:ext>
                </a:extLst>
              </a:tr>
              <a:tr h="351468">
                <a:tc>
                  <a:txBody>
                    <a:bodyPr/>
                    <a:lstStyle/>
                    <a:p>
                      <a:r>
                        <a:rPr lang="en-US" sz="1050" b="1">
                          <a:latin typeface="Trebuchet MS" panose="020B0603020202020204" pitchFamily="34" charset="0"/>
                        </a:rPr>
                        <a:t>SG dose reduction</a:t>
                      </a:r>
                    </a:p>
                  </a:txBody>
                  <a:tcPr anchor="ctr"/>
                </a:tc>
                <a:tc>
                  <a:txBody>
                    <a:bodyPr/>
                    <a:lstStyle/>
                    <a:p>
                      <a:r>
                        <a:rPr lang="en-US" sz="1050" b="1">
                          <a:latin typeface="Trebuchet MS" panose="020B0603020202020204" pitchFamily="34" charset="0"/>
                        </a:rPr>
                        <a:t>19 (16.4%)</a:t>
                      </a:r>
                    </a:p>
                  </a:txBody>
                  <a:tcPr anchor="ctr"/>
                </a:tc>
                <a:tc>
                  <a:txBody>
                    <a:bodyPr/>
                    <a:lstStyle/>
                    <a:p>
                      <a:r>
                        <a:rPr lang="en-US" sz="1050" b="1">
                          <a:latin typeface="Trebuchet MS" panose="020B0603020202020204" pitchFamily="34" charset="0"/>
                        </a:rPr>
                        <a:t>4 (12.5%)</a:t>
                      </a:r>
                    </a:p>
                  </a:txBody>
                  <a:tcPr anchor="ctr"/>
                </a:tc>
                <a:extLst>
                  <a:ext uri="{0D108BD9-81ED-4DB2-BD59-A6C34878D82A}">
                    <a16:rowId xmlns:a16="http://schemas.microsoft.com/office/drawing/2014/main" val="2076730933"/>
                  </a:ext>
                </a:extLst>
              </a:tr>
              <a:tr h="351468">
                <a:tc>
                  <a:txBody>
                    <a:bodyPr/>
                    <a:lstStyle/>
                    <a:p>
                      <a:pPr marL="182880" lvl="1"/>
                      <a:r>
                        <a:rPr lang="en-US" sz="1050" b="0">
                          <a:latin typeface="Trebuchet MS" panose="020B0603020202020204" pitchFamily="34" charset="0"/>
                        </a:rPr>
                        <a:t>Gastrointestinal, n (%)</a:t>
                      </a:r>
                    </a:p>
                  </a:txBody>
                  <a:tcPr anchor="ctr"/>
                </a:tc>
                <a:tc>
                  <a:txBody>
                    <a:bodyPr/>
                    <a:lstStyle/>
                    <a:p>
                      <a:pPr marL="0" lvl="1"/>
                      <a:r>
                        <a:rPr lang="en-US" sz="1050" b="0">
                          <a:latin typeface="Trebuchet MS" panose="020B0603020202020204" pitchFamily="34" charset="0"/>
                        </a:rPr>
                        <a:t>6 (31.6%)</a:t>
                      </a: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1 (25%)</a:t>
                      </a:r>
                    </a:p>
                  </a:txBody>
                  <a:tcPr anchor="ctr"/>
                </a:tc>
                <a:extLst>
                  <a:ext uri="{0D108BD9-81ED-4DB2-BD59-A6C34878D82A}">
                    <a16:rowId xmlns:a16="http://schemas.microsoft.com/office/drawing/2014/main" val="3743589647"/>
                  </a:ext>
                </a:extLst>
              </a:tr>
              <a:tr h="351468">
                <a:tc>
                  <a:txBody>
                    <a:bodyPr/>
                    <a:lstStyle/>
                    <a:p>
                      <a:pPr marL="182880" lvl="0"/>
                      <a:r>
                        <a:rPr lang="en-US" sz="1050" b="0">
                          <a:latin typeface="Trebuchet MS" panose="020B0603020202020204" pitchFamily="34" charset="0"/>
                        </a:rPr>
                        <a:t>Hematological toxicity, n (%)</a:t>
                      </a:r>
                    </a:p>
                  </a:txBody>
                  <a:tcPr anchor="ctr"/>
                </a:tc>
                <a:tc>
                  <a:txBody>
                    <a:bodyPr/>
                    <a:lstStyle/>
                    <a:p>
                      <a:pPr lvl="0"/>
                      <a:r>
                        <a:rPr lang="fr-FR" sz="1050" b="0">
                          <a:latin typeface="Trebuchet MS" panose="020B0603020202020204" pitchFamily="34" charset="0"/>
                        </a:rPr>
                        <a:t>8 (42.1%)</a:t>
                      </a:r>
                    </a:p>
                  </a:txBody>
                  <a:tcPr anchor="ctr"/>
                </a:tc>
                <a:tc>
                  <a:txBody>
                    <a:bodyPr/>
                    <a:lstStyle/>
                    <a:p>
                      <a:pPr lvl="0"/>
                      <a:r>
                        <a:rPr lang="fr-FR" sz="1050" b="0">
                          <a:latin typeface="Trebuchet MS" panose="020B0603020202020204" pitchFamily="34" charset="0"/>
                        </a:rPr>
                        <a:t>2 (50%)</a:t>
                      </a:r>
                    </a:p>
                  </a:txBody>
                  <a:tcPr anchor="ctr"/>
                </a:tc>
                <a:extLst>
                  <a:ext uri="{0D108BD9-81ED-4DB2-BD59-A6C34878D82A}">
                    <a16:rowId xmlns:a16="http://schemas.microsoft.com/office/drawing/2014/main" val="3289124124"/>
                  </a:ext>
                </a:extLst>
              </a:tr>
              <a:tr h="351468">
                <a:tc>
                  <a:txBody>
                    <a:body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Liver enzyme elevation, n (%)</a:t>
                      </a: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1 (5.3%)</a:t>
                      </a: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0 (0%)</a:t>
                      </a:r>
                    </a:p>
                  </a:txBody>
                  <a:tcPr anchor="ctr"/>
                </a:tc>
                <a:extLst>
                  <a:ext uri="{0D108BD9-81ED-4DB2-BD59-A6C34878D82A}">
                    <a16:rowId xmlns:a16="http://schemas.microsoft.com/office/drawing/2014/main" val="2224747660"/>
                  </a:ext>
                </a:extLst>
              </a:tr>
              <a:tr h="351468">
                <a:tc>
                  <a:txBody>
                    <a:body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Febrile neutropenia, n (%)</a:t>
                      </a: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3 (26.3%)</a:t>
                      </a: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1 (25%)</a:t>
                      </a:r>
                    </a:p>
                  </a:txBody>
                  <a:tcPr anchor="ctr"/>
                </a:tc>
                <a:extLst>
                  <a:ext uri="{0D108BD9-81ED-4DB2-BD59-A6C34878D82A}">
                    <a16:rowId xmlns:a16="http://schemas.microsoft.com/office/drawing/2014/main" val="2946782246"/>
                  </a:ext>
                </a:extLst>
              </a:tr>
              <a:tr h="351468">
                <a:tc>
                  <a:txBody>
                    <a:bodyPr/>
                    <a:lstStyle/>
                    <a:p>
                      <a:pPr marL="18288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Physical deterioration, n (%)</a:t>
                      </a: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1 (5.3%)</a:t>
                      </a: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0">
                          <a:latin typeface="Trebuchet MS" panose="020B0603020202020204" pitchFamily="34" charset="0"/>
                        </a:rPr>
                        <a:t>0 (0%)</a:t>
                      </a:r>
                    </a:p>
                  </a:txBody>
                  <a:tcPr anchor="ctr"/>
                </a:tc>
                <a:extLst>
                  <a:ext uri="{0D108BD9-81ED-4DB2-BD59-A6C34878D82A}">
                    <a16:rowId xmlns:a16="http://schemas.microsoft.com/office/drawing/2014/main" val="1268681915"/>
                  </a:ext>
                </a:extLst>
              </a:tr>
              <a:tr h="35146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1">
                          <a:latin typeface="Trebuchet MS" panose="020B0603020202020204" pitchFamily="34" charset="0"/>
                        </a:rPr>
                        <a:t>SG related deaths </a:t>
                      </a: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1">
                          <a:latin typeface="Trebuchet MS" panose="020B0603020202020204" pitchFamily="34" charset="0"/>
                        </a:rPr>
                        <a:t>0 (0%) </a:t>
                      </a:r>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50" b="1">
                          <a:latin typeface="Trebuchet MS" panose="020B0603020202020204" pitchFamily="34" charset="0"/>
                        </a:rPr>
                        <a:t>0 (0%)</a:t>
                      </a:r>
                    </a:p>
                  </a:txBody>
                  <a:tcPr anchor="ctr"/>
                </a:tc>
                <a:extLst>
                  <a:ext uri="{0D108BD9-81ED-4DB2-BD59-A6C34878D82A}">
                    <a16:rowId xmlns:a16="http://schemas.microsoft.com/office/drawing/2014/main" val="210924508"/>
                  </a:ext>
                </a:extLst>
              </a:tr>
            </a:tbl>
          </a:graphicData>
        </a:graphic>
      </p:graphicFrame>
      <p:sp>
        <p:nvSpPr>
          <p:cNvPr id="8" name="TextBox 7">
            <a:extLst>
              <a:ext uri="{FF2B5EF4-FFF2-40B4-BE49-F238E27FC236}">
                <a16:creationId xmlns:a16="http://schemas.microsoft.com/office/drawing/2014/main" id="{8D3B51BE-9380-434D-A1C4-17F721961E58}"/>
              </a:ext>
            </a:extLst>
          </p:cNvPr>
          <p:cNvSpPr txBox="1"/>
          <p:nvPr/>
        </p:nvSpPr>
        <p:spPr>
          <a:xfrm>
            <a:off x="657729" y="1406844"/>
            <a:ext cx="4513098"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4565B"/>
                </a:solidFill>
                <a:effectLst/>
                <a:uLnTx/>
                <a:uFillTx/>
                <a:latin typeface="Trebuchet MS"/>
              </a:rPr>
              <a:t>Table 3 – SG discontinuation causes</a:t>
            </a:r>
            <a:endParaRPr lang="en-US" sz="1600" b="1" i="0" u="none" strike="noStrike" kern="1200" cap="none" spc="0" normalizeH="0" baseline="0" noProof="0">
              <a:ln>
                <a:noFill/>
              </a:ln>
              <a:solidFill>
                <a:srgbClr val="54565B"/>
              </a:solidFill>
              <a:effectLst/>
              <a:uLnTx/>
              <a:uFillTx/>
              <a:latin typeface="Trebuchet MS"/>
            </a:endParaRPr>
          </a:p>
        </p:txBody>
      </p:sp>
      <p:sp>
        <p:nvSpPr>
          <p:cNvPr id="10" name="TextBox 9">
            <a:extLst>
              <a:ext uri="{FF2B5EF4-FFF2-40B4-BE49-F238E27FC236}">
                <a16:creationId xmlns:a16="http://schemas.microsoft.com/office/drawing/2014/main" id="{A66A5DBE-322F-4083-AD51-9F3745A14926}"/>
              </a:ext>
            </a:extLst>
          </p:cNvPr>
          <p:cNvSpPr txBox="1"/>
          <p:nvPr/>
        </p:nvSpPr>
        <p:spPr>
          <a:xfrm>
            <a:off x="6162584" y="1318061"/>
            <a:ext cx="4513098" cy="33855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4565B"/>
                </a:solidFill>
                <a:effectLst/>
                <a:uLnTx/>
                <a:uFillTx/>
                <a:latin typeface="Trebuchet MS"/>
              </a:rPr>
              <a:t>Table 4 – Toxicity leading to dose reduction</a:t>
            </a:r>
            <a:endParaRPr lang="en-US" sz="1600" b="1" i="0" u="none" strike="noStrike" kern="1200" cap="none" spc="0" normalizeH="0" baseline="0" noProof="0">
              <a:ln>
                <a:noFill/>
              </a:ln>
              <a:solidFill>
                <a:srgbClr val="54565B"/>
              </a:solidFill>
              <a:effectLst/>
              <a:uLnTx/>
              <a:uFillTx/>
              <a:latin typeface="Trebuchet MS"/>
            </a:endParaRPr>
          </a:p>
        </p:txBody>
      </p:sp>
    </p:spTree>
    <p:extLst>
      <p:ext uri="{BB962C8B-B14F-4D97-AF65-F5344CB8AC3E}">
        <p14:creationId xmlns:p14="http://schemas.microsoft.com/office/powerpoint/2010/main" val="38367295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CC565F1-6ECA-4A54-89D2-F4F21842C4A0}"/>
              </a:ext>
            </a:extLst>
          </p:cNvPr>
          <p:cNvSpPr>
            <a:spLocks noGrp="1"/>
          </p:cNvSpPr>
          <p:nvPr>
            <p:ph type="title"/>
          </p:nvPr>
        </p:nvSpPr>
        <p:spPr/>
        <p:txBody>
          <a:bodyPr/>
          <a:lstStyle/>
          <a:p>
            <a:r>
              <a:rPr lang="en-US">
                <a:solidFill>
                  <a:srgbClr val="203661"/>
                </a:solidFill>
                <a:latin typeface="Trebuchet MS" panose="020B0603020202020204" pitchFamily="34" charset="0"/>
                <a:ea typeface="+mj-ea"/>
              </a:rPr>
              <a:t>Conclusions</a:t>
            </a:r>
            <a:r>
              <a:rPr lang="en-US" baseline="30000">
                <a:solidFill>
                  <a:srgbClr val="203661"/>
                </a:solidFill>
                <a:latin typeface="Trebuchet MS" panose="020B0603020202020204" pitchFamily="34" charset="0"/>
                <a:ea typeface="+mj-ea"/>
              </a:rPr>
              <a:t>1</a:t>
            </a:r>
            <a:br>
              <a:rPr lang="en-US" sz="2400"/>
            </a:br>
            <a:br>
              <a:rPr lang="en-US" sz="2400"/>
            </a:br>
            <a:br>
              <a:rPr lang="en-CH"/>
            </a:br>
            <a:endParaRPr lang="en-IN" baseline="30000"/>
          </a:p>
        </p:txBody>
      </p:sp>
      <p:sp>
        <p:nvSpPr>
          <p:cNvPr id="12" name="Text Placeholder 11">
            <a:extLst>
              <a:ext uri="{FF2B5EF4-FFF2-40B4-BE49-F238E27FC236}">
                <a16:creationId xmlns:a16="http://schemas.microsoft.com/office/drawing/2014/main" id="{DE2F887C-C2AE-4BCB-9230-50E7EAC81F38}"/>
              </a:ext>
            </a:extLst>
          </p:cNvPr>
          <p:cNvSpPr>
            <a:spLocks noGrp="1"/>
          </p:cNvSpPr>
          <p:nvPr>
            <p:ph type="body" sz="quarter" idx="13"/>
          </p:nvPr>
        </p:nvSpPr>
        <p:spPr>
          <a:xfrm>
            <a:off x="568793" y="5964198"/>
            <a:ext cx="9478456" cy="704449"/>
          </a:xfrm>
        </p:spPr>
        <p:txBody>
          <a:bodyPr/>
          <a:lstStyle/>
          <a:p>
            <a:pPr>
              <a:spcAft>
                <a:spcPts val="0"/>
              </a:spcAft>
            </a:pPr>
            <a:r>
              <a:rPr lang="en-US" sz="700" kern="1200">
                <a:latin typeface="Trebuchet MS" panose="020B0603020202020204" pitchFamily="34" charset="0"/>
                <a:ea typeface="Helvetica" charset="0"/>
                <a:cs typeface="Helvetica"/>
              </a:rPr>
              <a:t>CNS, central nervous system; PFS, progression free circle; OS, overall survival; ORR, overall response rate; </a:t>
            </a:r>
            <a:r>
              <a:rPr lang="en-US" sz="700" kern="1200" err="1">
                <a:latin typeface="Trebuchet MS" panose="020B0603020202020204" pitchFamily="34" charset="0"/>
                <a:ea typeface="Helvetica" charset="0"/>
                <a:cs typeface="Helvetica"/>
              </a:rPr>
              <a:t>mTNBC</a:t>
            </a:r>
            <a:r>
              <a:rPr lang="en-US" sz="700" kern="1200">
                <a:latin typeface="Trebuchet MS" panose="020B0603020202020204" pitchFamily="34" charset="0"/>
                <a:ea typeface="Helvetica" charset="0"/>
                <a:cs typeface="Helvetica"/>
              </a:rPr>
              <a:t>, metastatic triple-negative breast cancer; SG, </a:t>
            </a:r>
            <a:r>
              <a:rPr lang="en-US" sz="700" kern="1200" err="1">
                <a:latin typeface="Trebuchet MS" panose="020B0603020202020204" pitchFamily="34" charset="0"/>
                <a:ea typeface="Helvetica" charset="0"/>
                <a:cs typeface="Helvetica"/>
              </a:rPr>
              <a:t>sacituzumab</a:t>
            </a:r>
            <a:r>
              <a:rPr lang="en-US" sz="700" kern="1200">
                <a:latin typeface="Trebuchet MS" panose="020B0603020202020204" pitchFamily="34" charset="0"/>
                <a:ea typeface="Helvetica" charset="0"/>
                <a:cs typeface="Helvetica"/>
              </a:rPr>
              <a:t> </a:t>
            </a:r>
            <a:r>
              <a:rPr lang="en-US" sz="700" kern="1200" err="1">
                <a:latin typeface="Trebuchet MS" panose="020B0603020202020204" pitchFamily="34" charset="0"/>
                <a:ea typeface="Helvetica" charset="0"/>
                <a:cs typeface="Helvetica"/>
              </a:rPr>
              <a:t>govitecan</a:t>
            </a:r>
            <a:r>
              <a:rPr lang="en-US" sz="700" kern="1200">
                <a:latin typeface="Trebuchet MS" panose="020B0603020202020204" pitchFamily="34" charset="0"/>
                <a:ea typeface="Helvetica" charset="0"/>
                <a:cs typeface="Helvetica"/>
              </a:rPr>
              <a:t>. </a:t>
            </a:r>
          </a:p>
          <a:p>
            <a:pPr>
              <a:spcAft>
                <a:spcPts val="0"/>
              </a:spcAft>
            </a:pPr>
            <a:r>
              <a:rPr lang="en-US" sz="700" kern="1200">
                <a:latin typeface="Trebuchet MS" panose="020B0603020202020204" pitchFamily="34" charset="0"/>
                <a:ea typeface="Helvetica" charset="0"/>
                <a:cs typeface="Helvetica"/>
              </a:rPr>
              <a:t>1. </a:t>
            </a:r>
            <a:r>
              <a:rPr lang="en-US" sz="700" kern="1200" err="1">
                <a:latin typeface="Trebuchet MS" panose="020B0603020202020204" pitchFamily="34" charset="0"/>
                <a:ea typeface="Helvetica" charset="0"/>
                <a:cs typeface="Helvetica"/>
              </a:rPr>
              <a:t>Loirat</a:t>
            </a:r>
            <a:r>
              <a:rPr lang="en-US" sz="700" kern="1200">
                <a:latin typeface="Trebuchet MS" panose="020B0603020202020204" pitchFamily="34" charset="0"/>
                <a:ea typeface="Helvetica" charset="0"/>
                <a:cs typeface="Helvetica"/>
              </a:rPr>
              <a:t> D, et al. Poster presented at: ESMO Breast Cancer 2023; May 11-13, 2023; Berlin, Germany. Abstract #216P </a:t>
            </a:r>
            <a:endParaRPr lang="fr-FR" sz="700" kern="1200">
              <a:latin typeface="Trebuchet MS" panose="020B0603020202020204" pitchFamily="34" charset="0"/>
              <a:ea typeface="Helvetica" charset="0"/>
              <a:cs typeface="Helvetica"/>
            </a:endParaRPr>
          </a:p>
        </p:txBody>
      </p:sp>
      <p:sp>
        <p:nvSpPr>
          <p:cNvPr id="6" name="Content Placeholder 5">
            <a:extLst>
              <a:ext uri="{FF2B5EF4-FFF2-40B4-BE49-F238E27FC236}">
                <a16:creationId xmlns:a16="http://schemas.microsoft.com/office/drawing/2014/main" id="{F9B8EA8E-1F34-412C-B853-693A34279C75}"/>
              </a:ext>
            </a:extLst>
          </p:cNvPr>
          <p:cNvSpPr>
            <a:spLocks noGrp="1"/>
          </p:cNvSpPr>
          <p:nvPr>
            <p:ph idx="1"/>
          </p:nvPr>
        </p:nvSpPr>
        <p:spPr>
          <a:xfrm>
            <a:off x="568793" y="837596"/>
            <a:ext cx="11481363" cy="2831544"/>
          </a:xfrm>
        </p:spPr>
        <p:txBody>
          <a:bodyPr wrap="square">
            <a:spAutoFit/>
          </a:bodyPr>
          <a:lstStyle/>
          <a:p>
            <a:pPr>
              <a:buFont typeface="Arial" panose="020B0604020202020204" pitchFamily="34" charset="0"/>
              <a:buChar char="•"/>
            </a:pPr>
            <a:r>
              <a:rPr lang="en-US" sz="1800"/>
              <a:t>This cohort study described the real world experience of SG in patients with </a:t>
            </a:r>
            <a:r>
              <a:rPr lang="en-US" sz="1800" err="1"/>
              <a:t>mTNBC</a:t>
            </a:r>
            <a:r>
              <a:rPr lang="en-US" sz="1800"/>
              <a:t> treated through the French Early Access Program.</a:t>
            </a:r>
          </a:p>
          <a:p>
            <a:pPr>
              <a:buFont typeface="Arial" panose="020B0604020202020204" pitchFamily="34" charset="0"/>
              <a:buChar char="•"/>
            </a:pPr>
            <a:r>
              <a:rPr lang="en-US" sz="1800"/>
              <a:t>These data show the real world effectiveness of SG in a population with a higher proportion of patients with brain metastases (31.1%) and impaired performance status.</a:t>
            </a:r>
          </a:p>
          <a:p>
            <a:pPr>
              <a:buFont typeface="Arial" panose="020B0604020202020204" pitchFamily="34" charset="0"/>
              <a:buChar char="•"/>
            </a:pPr>
            <a:r>
              <a:rPr lang="en-US" sz="1800"/>
              <a:t>These results suggest that SG could be considered for patients with active CNS, in absence of available CNS local treatment.</a:t>
            </a:r>
          </a:p>
          <a:p>
            <a:pPr>
              <a:buFont typeface="Arial" panose="020B0604020202020204" pitchFamily="34" charset="0"/>
              <a:buChar char="•"/>
            </a:pPr>
            <a:endParaRPr lang="en-US" sz="1800"/>
          </a:p>
          <a:p>
            <a:pPr marL="319088" lvl="0" indent="-319088"/>
            <a:endParaRPr lang="en-CA" sz="1800" baseline="30000"/>
          </a:p>
        </p:txBody>
      </p:sp>
    </p:spTree>
    <p:extLst>
      <p:ext uri="{BB962C8B-B14F-4D97-AF65-F5344CB8AC3E}">
        <p14:creationId xmlns:p14="http://schemas.microsoft.com/office/powerpoint/2010/main" val="8731813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A3D357E-3BBF-F065-5974-A13C9681B474}"/>
              </a:ext>
            </a:extLst>
          </p:cNvPr>
          <p:cNvSpPr txBox="1"/>
          <p:nvPr/>
        </p:nvSpPr>
        <p:spPr>
          <a:xfrm>
            <a:off x="2273581" y="1748127"/>
            <a:ext cx="937066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rodelvy</a:t>
            </a:r>
            <a:r>
              <a:rPr kumimoji="0" lang="sv-SE" sz="14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sacituzumab </a:t>
            </a:r>
            <a:r>
              <a:rPr kumimoji="0" 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govitecan</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C225DACC-4015-140A-09F8-6E402D7178DA}"/>
              </a:ext>
            </a:extLst>
          </p:cNvPr>
          <p:cNvSpPr txBox="1"/>
          <p:nvPr/>
        </p:nvSpPr>
        <p:spPr>
          <a:xfrm>
            <a:off x="2273581" y="2280624"/>
            <a:ext cx="8681291" cy="346043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Detta läkemedel är föremål för utökad</a:t>
            </a:r>
            <a:r>
              <a:rPr kumimoji="0" lang="sv-SE" sz="1050" b="1" i="1"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 </a:t>
            </a: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övervakning.</a:t>
            </a:r>
            <a:endParaRPr kumimoji="0" lang="sv-SE" sz="1050" b="0" i="0" u="none" strike="noStrike" kern="1200" cap="none" spc="0" normalizeH="0" baseline="0" noProof="0" dirty="0">
              <a:ln>
                <a:noFill/>
              </a:ln>
              <a:solidFill>
                <a:srgbClr val="000000"/>
              </a:solidFill>
              <a:effectLst/>
              <a:uLnTx/>
              <a:uFillTx/>
              <a:latin typeface="Times New Roman" panose="02020603050405020304" pitchFamily="18" charset="0"/>
              <a:ea typeface="SimSun" panose="02010600030101010101" pitchFamily="2" charset="-122"/>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rodelvy® </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acituzumabgovitekan</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200 mg pulver till koncentrat till infusionsvätska, lösning. Antineoplastiska medel. Antikropp-</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läkemedelskonjugat</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x</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EF.  </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ndikationer</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Monoterapi vid behandling av vuxna patienter med icke-</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sektabel</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eller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tastaserad</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trippelnegativ bröstcancer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TNBC</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som tidigare har fått två eller flera systemiska behandlingar, varav minst en av dem mot avancerad sjukdom. Monoterapi vid behandling av vuxna patienter med icke-</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sektabel</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eller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tastaserad</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hormonreceptor (HR)-positiv, HER2-negativ bröstcancer som har fått endokrinbaserad behandling och minst två ytterligare systemiska behandlingar för avancerad sjukdom.</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Kontraindikationer</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Överkänslighet mot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acituzumabgovitekan</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eller hjälpämne.</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Varningar och försiktighet:</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Kan orsaka svår eller livshotande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eutropeni</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Det rekommenderas att patienternas blodvärden övervakas under behandlingen. Ska inte administreras om det absoluta antalet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eutrofiler</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nderstiger 1 500/mm</a:t>
            </a:r>
            <a:r>
              <a:rPr kumimoji="0" lang="sv-SE" sz="105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3</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på dag 1 under någon cykel eller om antalet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eutrofiler</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nderstiger 1 000/mm</a:t>
            </a:r>
            <a:r>
              <a:rPr kumimoji="0" lang="sv-SE" sz="105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3</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på dag 8 under någon cykel eller vid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eutropen</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feber. Kan orsaka svår diarré. Ska inte administreras vid diarré av grad 3–4. Kan orsaka svår eller livshotande överkänslighet. Premedicinering rekommenderas och noggrann observation med avseende på infusionsrelaterade reaktioner. För att förebygga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ytostatikainducerat</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illamående och kräkningar rekommenderas förebyggande behandling med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tiemetika</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Patienten måste övervakas under varje infusion och i minst 30 minuter efter varje infusion. Patienter med känd reducerad UGT1A1-aktivitet ska övervakas noga med avseende på biverkningar. Gravida kvinnor och fertila kvinnor ska informeras om den potentiella risken för foster. Innehåller natrium, ska beaktas i relation till patientens totala natriumintag.</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nnehavare av marknadsföringstillståndet:</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Gilead Sciences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reland</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C</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ör information: </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Kontakta Gilead Sciences Sweden AB, + 46 (0) 8 5057 1849. För fullständig information om dosering, varningar och försiktighet, interaktioner och biverkningar samt aktuell information om förpackningar och priser se </a:t>
            </a:r>
            <a:r>
              <a:rPr kumimoji="0" lang="sv-SE" sz="105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2"/>
              </a:rPr>
              <a:t>www.fass.se</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Baserad på produktresumé: 07/2023</a:t>
            </a:r>
          </a:p>
        </p:txBody>
      </p:sp>
      <p:sp>
        <p:nvSpPr>
          <p:cNvPr id="2" name="TextBox 1">
            <a:extLst>
              <a:ext uri="{FF2B5EF4-FFF2-40B4-BE49-F238E27FC236}">
                <a16:creationId xmlns:a16="http://schemas.microsoft.com/office/drawing/2014/main" id="{ACECD521-1E3F-F93A-F875-0E9ADCDB5E53}"/>
              </a:ext>
            </a:extLst>
          </p:cNvPr>
          <p:cNvSpPr txBox="1"/>
          <p:nvPr/>
        </p:nvSpPr>
        <p:spPr>
          <a:xfrm>
            <a:off x="-2146" y="6385636"/>
            <a:ext cx="6098146" cy="261610"/>
          </a:xfrm>
          <a:prstGeom prst="rect">
            <a:avLst/>
          </a:prstGeom>
          <a:noFill/>
        </p:spPr>
        <p:txBody>
          <a:bodyPr wrap="square">
            <a:spAutoFit/>
          </a:bodyPr>
          <a:lstStyle/>
          <a:p>
            <a:r>
              <a:rPr lang="en-US" sz="1100" b="0" i="0" dirty="0">
                <a:solidFill>
                  <a:srgbClr val="787A7E"/>
                </a:solidFill>
                <a:effectLst/>
                <a:latin typeface="Trebuchet MS" panose="020B0603020202020204" pitchFamily="34" charset="0"/>
              </a:rPr>
              <a:t>SE-TRO-0170 Date of preparation April 2024</a:t>
            </a:r>
            <a:endParaRPr lang="en-US" sz="1100" b="0" i="0" dirty="0">
              <a:solidFill>
                <a:srgbClr val="787A7E"/>
              </a:solidFill>
              <a:latin typeface="Trebuchet MS" panose="020B0603020202020204" pitchFamily="34" charset="0"/>
            </a:endParaRPr>
          </a:p>
        </p:txBody>
      </p:sp>
    </p:spTree>
    <p:extLst>
      <p:ext uri="{BB962C8B-B14F-4D97-AF65-F5344CB8AC3E}">
        <p14:creationId xmlns:p14="http://schemas.microsoft.com/office/powerpoint/2010/main" val="14569728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mbRtboKRGSPR7y3VYAIsA"/>
</p:tagLst>
</file>

<file path=ppt/theme/theme1.xml><?xml version="1.0" encoding="utf-8"?>
<a:theme xmlns:a="http://schemas.openxmlformats.org/drawingml/2006/main" name="Creating Possibl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Gilead and Kite Oncology Templat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A9E2EC163FC74996D6861E44C425CA" ma:contentTypeVersion="17" ma:contentTypeDescription="Create a new document." ma:contentTypeScope="" ma:versionID="c9c2442461e26047ecdee574b1122fe5">
  <xsd:schema xmlns:xsd="http://www.w3.org/2001/XMLSchema" xmlns:xs="http://www.w3.org/2001/XMLSchema" xmlns:p="http://schemas.microsoft.com/office/2006/metadata/properties" xmlns:ns2="052548a7-d13b-4373-a2ca-8bdb29c28305" xmlns:ns3="241572bb-70e3-488b-8b5d-1ce9b7b5bb87" targetNamespace="http://schemas.microsoft.com/office/2006/metadata/properties" ma:root="true" ma:fieldsID="72b6310a1e28299526fff25fddbf4329" ns2:_="" ns3:_="">
    <xsd:import namespace="052548a7-d13b-4373-a2ca-8bdb29c28305"/>
    <xsd:import namespace="241572bb-70e3-488b-8b5d-1ce9b7b5bb8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Contact"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2548a7-d13b-4373-a2ca-8bdb29c2830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59aaaf-67c2-4a9b-8dae-6c62ae0ca490" ma:termSetId="09814cd3-568e-fe90-9814-8d621ff8fb84" ma:anchorId="fba54fb3-c3e1-fe81-a776-ca4b69148c4d" ma:open="true" ma:isKeyword="false">
      <xsd:complexType>
        <xsd:sequence>
          <xsd:element ref="pc:Terms" minOccurs="0" maxOccurs="1"/>
        </xsd:sequence>
      </xsd:complexType>
    </xsd:element>
    <xsd:element name="Contact" ma:index="23" nillable="true" ma:displayName="Contact" ma:format="Dropdown" ma:list="UserInfo" ma:SharePointGroup="0" ma:internalName="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41572bb-70e3-488b-8b5d-1ce9b7b5bb8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d7ffd2f-b86b-47f4-a7bb-a735d4827684}" ma:internalName="TaxCatchAll" ma:showField="CatchAllData" ma:web="241572bb-70e3-488b-8b5d-1ce9b7b5bb8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52548a7-d13b-4373-a2ca-8bdb29c28305">
      <Terms xmlns="http://schemas.microsoft.com/office/infopath/2007/PartnerControls"/>
    </lcf76f155ced4ddcb4097134ff3c332f>
    <TaxCatchAll xmlns="241572bb-70e3-488b-8b5d-1ce9b7b5bb87" xsi:nil="true"/>
    <Contact xmlns="052548a7-d13b-4373-a2ca-8bdb29c28305">
      <UserInfo>
        <DisplayName/>
        <AccountId xsi:nil="true"/>
        <AccountType/>
      </UserInfo>
    </Contact>
  </documentManagement>
</p:properties>
</file>

<file path=customXml/itemProps1.xml><?xml version="1.0" encoding="utf-8"?>
<ds:datastoreItem xmlns:ds="http://schemas.openxmlformats.org/officeDocument/2006/customXml" ds:itemID="{4A48D86C-E8C2-4DEB-A504-6F55A6CF40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52548a7-d13b-4373-a2ca-8bdb29c28305"/>
    <ds:schemaRef ds:uri="241572bb-70e3-488b-8b5d-1ce9b7b5bb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6E75B9C-65BD-4F4E-A0DD-10182A05D586}">
  <ds:schemaRefs>
    <ds:schemaRef ds:uri="http://schemas.microsoft.com/sharepoint/v3/contenttype/forms"/>
  </ds:schemaRefs>
</ds:datastoreItem>
</file>

<file path=customXml/itemProps3.xml><?xml version="1.0" encoding="utf-8"?>
<ds:datastoreItem xmlns:ds="http://schemas.openxmlformats.org/officeDocument/2006/customXml" ds:itemID="{BE42E52A-BE8E-4358-852D-26F4B0960270}">
  <ds:schemaRefs>
    <ds:schemaRef ds:uri="http://purl.org/dc/dcmitype/"/>
    <ds:schemaRef ds:uri="052548a7-d13b-4373-a2ca-8bdb29c28305"/>
    <ds:schemaRef ds:uri="http://purl.org/dc/elements/1.1/"/>
    <ds:schemaRef ds:uri="http://www.w3.org/XML/1998/namespace"/>
    <ds:schemaRef ds:uri="http://schemas.microsoft.com/office/2006/documentManagement/types"/>
    <ds:schemaRef ds:uri="241572bb-70e3-488b-8b5d-1ce9b7b5bb87"/>
    <ds:schemaRef ds:uri="http://schemas.microsoft.com/office/2006/metadata/properties"/>
    <ds:schemaRef ds:uri="http://schemas.openxmlformats.org/package/2006/metadata/core-properties"/>
    <ds:schemaRef ds:uri="http://purl.org/dc/term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79</TotalTime>
  <Words>2015</Words>
  <Application>Microsoft Office PowerPoint</Application>
  <PresentationFormat>Widescreen</PresentationFormat>
  <Paragraphs>272</Paragraphs>
  <Slides>9</Slides>
  <Notes>8</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24" baseType="lpstr">
      <vt:lpstr>Apple Symbols</vt:lpstr>
      <vt:lpstr>Arial</vt:lpstr>
      <vt:lpstr>Arial Narrow</vt:lpstr>
      <vt:lpstr>Calibri</vt:lpstr>
      <vt:lpstr>Calibri Light</vt:lpstr>
      <vt:lpstr>Century Gothic</vt:lpstr>
      <vt:lpstr>Georgia</vt:lpstr>
      <vt:lpstr>Monaco</vt:lpstr>
      <vt:lpstr>System Font Regular</vt:lpstr>
      <vt:lpstr>Times New Roman</vt:lpstr>
      <vt:lpstr>Trebuchet MS</vt:lpstr>
      <vt:lpstr>Creating Possible</vt:lpstr>
      <vt:lpstr>Office Theme</vt:lpstr>
      <vt:lpstr>Gilead and Kite Oncology Template</vt:lpstr>
      <vt:lpstr>think-cell Slide</vt:lpstr>
      <vt:lpstr>PowerPoint Presentation</vt:lpstr>
      <vt:lpstr>PowerPoint Presentation</vt:lpstr>
      <vt:lpstr>Methods1   </vt:lpstr>
      <vt:lpstr>Patient Characteristics1   </vt:lpstr>
      <vt:lpstr>Efficacy Results1   </vt:lpstr>
      <vt:lpstr>Results: PFS and OS1   </vt:lpstr>
      <vt:lpstr>Results: Toxicity1   </vt:lpstr>
      <vt:lpstr>Conclusions1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koleta Sjekloca</dc:creator>
  <cp:lastModifiedBy>Jonas Söderholm</cp:lastModifiedBy>
  <cp:revision>5</cp:revision>
  <cp:lastPrinted>2021-05-18T12:45:57Z</cp:lastPrinted>
  <dcterms:created xsi:type="dcterms:W3CDTF">2021-03-17T13:13:27Z</dcterms:created>
  <dcterms:modified xsi:type="dcterms:W3CDTF">2024-04-23T14:0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A9E2EC163FC74996D6861E44C425CA</vt:lpwstr>
  </property>
  <property fmtid="{D5CDD505-2E9C-101B-9397-08002B2CF9AE}" pid="3" name="MSIP_Label_418c1083-8924-401d-97ae-40f5eed0fcd8_Enabled">
    <vt:lpwstr>true</vt:lpwstr>
  </property>
  <property fmtid="{D5CDD505-2E9C-101B-9397-08002B2CF9AE}" pid="4" name="MSIP_Label_418c1083-8924-401d-97ae-40f5eed0fcd8_SetDate">
    <vt:lpwstr>2022-04-20T15:27:04Z</vt:lpwstr>
  </property>
  <property fmtid="{D5CDD505-2E9C-101B-9397-08002B2CF9AE}" pid="5" name="MSIP_Label_418c1083-8924-401d-97ae-40f5eed0fcd8_Method">
    <vt:lpwstr>Standard</vt:lpwstr>
  </property>
  <property fmtid="{D5CDD505-2E9C-101B-9397-08002B2CF9AE}" pid="6" name="MSIP_Label_418c1083-8924-401d-97ae-40f5eed0fcd8_Name">
    <vt:lpwstr>418c1083-8924-401d-97ae-40f5eed0fcd8</vt:lpwstr>
  </property>
  <property fmtid="{D5CDD505-2E9C-101B-9397-08002B2CF9AE}" pid="7" name="MSIP_Label_418c1083-8924-401d-97ae-40f5eed0fcd8_SiteId">
    <vt:lpwstr>a5a8bcaa-3292-41e6-b735-5e8b21f4dbfd</vt:lpwstr>
  </property>
  <property fmtid="{D5CDD505-2E9C-101B-9397-08002B2CF9AE}" pid="8" name="MSIP_Label_418c1083-8924-401d-97ae-40f5eed0fcd8_ActionId">
    <vt:lpwstr>654c77ec-61cb-4e68-8e30-24201d5f80fd</vt:lpwstr>
  </property>
  <property fmtid="{D5CDD505-2E9C-101B-9397-08002B2CF9AE}" pid="9" name="MSIP_Label_418c1083-8924-401d-97ae-40f5eed0fcd8_ContentBits">
    <vt:lpwstr>0</vt:lpwstr>
  </property>
</Properties>
</file>